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75.xml" ContentType="application/vnd.openxmlformats-officedocument.presentationml.tags+xml"/>
  <Override PartName="/ppt/notesSlides/notesSlide28.xml" ContentType="application/vnd.openxmlformats-officedocument.presentationml.notesSlide+xml"/>
  <Override PartName="/ppt/tags/tag76.xml" ContentType="application/vnd.openxmlformats-officedocument.presentationml.tags+xml"/>
  <Override PartName="/ppt/notesSlides/notesSlide29.xml" ContentType="application/vnd.openxmlformats-officedocument.presentationml.notesSlide+xml"/>
  <Override PartName="/ppt/tags/tag77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78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  <p:sldMasterId id="2147483660" r:id="rId4"/>
  </p:sldMasterIdLst>
  <p:notesMasterIdLst>
    <p:notesMasterId r:id="rId45"/>
  </p:notesMasterIdLst>
  <p:handoutMasterIdLst>
    <p:handoutMasterId r:id="rId46"/>
  </p:handoutMasterIdLst>
  <p:sldIdLst>
    <p:sldId id="371" r:id="rId5"/>
    <p:sldId id="390" r:id="rId6"/>
    <p:sldId id="373" r:id="rId7"/>
    <p:sldId id="388" r:id="rId8"/>
    <p:sldId id="375" r:id="rId9"/>
    <p:sldId id="376" r:id="rId10"/>
    <p:sldId id="377" r:id="rId11"/>
    <p:sldId id="378" r:id="rId12"/>
    <p:sldId id="379" r:id="rId13"/>
    <p:sldId id="391" r:id="rId14"/>
    <p:sldId id="383" r:id="rId15"/>
    <p:sldId id="384" r:id="rId16"/>
    <p:sldId id="385" r:id="rId17"/>
    <p:sldId id="386" r:id="rId18"/>
    <p:sldId id="387" r:id="rId19"/>
    <p:sldId id="344" r:id="rId20"/>
    <p:sldId id="345" r:id="rId21"/>
    <p:sldId id="346" r:id="rId22"/>
    <p:sldId id="347" r:id="rId23"/>
    <p:sldId id="370" r:id="rId24"/>
    <p:sldId id="393" r:id="rId25"/>
    <p:sldId id="351" r:id="rId26"/>
    <p:sldId id="392" r:id="rId27"/>
    <p:sldId id="369" r:id="rId28"/>
    <p:sldId id="352" r:id="rId29"/>
    <p:sldId id="353" r:id="rId30"/>
    <p:sldId id="354" r:id="rId31"/>
    <p:sldId id="355" r:id="rId32"/>
    <p:sldId id="356" r:id="rId33"/>
    <p:sldId id="357" r:id="rId34"/>
    <p:sldId id="358" r:id="rId35"/>
    <p:sldId id="359" r:id="rId36"/>
    <p:sldId id="360" r:id="rId37"/>
    <p:sldId id="361" r:id="rId38"/>
    <p:sldId id="362" r:id="rId39"/>
    <p:sldId id="363" r:id="rId40"/>
    <p:sldId id="364" r:id="rId41"/>
    <p:sldId id="365" r:id="rId42"/>
    <p:sldId id="366" r:id="rId43"/>
    <p:sldId id="367" r:id="rId44"/>
  </p:sldIdLst>
  <p:sldSz cx="12192000" cy="6858000"/>
  <p:notesSz cx="7315200" cy="96012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44" y="3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208835341365459E-2"/>
          <c:y val="1.7133443163097201E-2"/>
          <c:w val="0.89558232931726911"/>
          <c:h val="0.965733113673805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000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1998.20421410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53-408E-86E2-8026834E930A}"/>
            </c:ext>
          </c:extLst>
        </c:ser>
        <c:ser>
          <c:idx val="1"/>
          <c:order val="1"/>
          <c:spPr>
            <a:solidFill>
              <a:srgbClr val="575756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4533.042128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53-408E-86E2-8026834E930A}"/>
            </c:ext>
          </c:extLst>
        </c:ser>
        <c:ser>
          <c:idx val="2"/>
          <c:order val="2"/>
          <c:spPr>
            <a:solidFill>
              <a:srgbClr val="969696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5027.89930318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53-408E-86E2-8026834E930A}"/>
            </c:ext>
          </c:extLst>
        </c:ser>
        <c:ser>
          <c:idx val="3"/>
          <c:order val="3"/>
          <c:spPr>
            <a:solidFill>
              <a:srgbClr val="C0C0C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47802.3664703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F53-408E-86E2-8026834E930A}"/>
            </c:ext>
          </c:extLst>
        </c:ser>
        <c:ser>
          <c:idx val="4"/>
          <c:order val="4"/>
          <c:spPr>
            <a:solidFill>
              <a:schemeClr val="accent1">
                <a:lumMod val="75000"/>
              </a:schemeClr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D1AE-4CA3-A1B6-FEE8C114DA8C}"/>
              </c:ext>
            </c:extLst>
          </c:dPt>
          <c:val>
            <c:numRef>
              <c:f>Sheet1!$A$5</c:f>
              <c:numCache>
                <c:formatCode>General</c:formatCode>
                <c:ptCount val="1"/>
                <c:pt idx="0">
                  <c:v>157011.86445109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F53-408E-86E2-8026834E93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128239432"/>
        <c:axId val="1"/>
      </c:barChart>
      <c:catAx>
        <c:axId val="1128239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6373.376566719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28239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485436893203881E-2"/>
          <c:y val="1.7133443163097201E-2"/>
          <c:w val="0.89902912621359221"/>
          <c:h val="0.9657331136738056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000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8591.36926775999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14-4E49-8DE7-857AA9AE752C}"/>
            </c:ext>
          </c:extLst>
        </c:ser>
        <c:ser>
          <c:idx val="1"/>
          <c:order val="1"/>
          <c:spPr>
            <a:solidFill>
              <a:srgbClr val="969696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3751.28069328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14-4E49-8DE7-857AA9AE752C}"/>
            </c:ext>
          </c:extLst>
        </c:ser>
        <c:ser>
          <c:idx val="2"/>
          <c:order val="2"/>
          <c:spPr>
            <a:solidFill>
              <a:srgbClr val="C0C0C0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49638.19202701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14-4E49-8DE7-857AA9AE752C}"/>
            </c:ext>
          </c:extLst>
        </c:ser>
        <c:ser>
          <c:idx val="3"/>
          <c:order val="3"/>
          <c:spPr>
            <a:solidFill>
              <a:schemeClr val="accent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64392.53456574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14-4E49-8DE7-857AA9AE75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835589600"/>
        <c:axId val="1"/>
      </c:barChart>
      <c:catAx>
        <c:axId val="835589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6373.376553809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35589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772563176895306E-2"/>
          <c:y val="1.8220042046250877E-2"/>
          <c:w val="0.96245487364620941"/>
          <c:h val="0.963559915907498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30831"/>
            </a:solidFill>
            <a:ln w="9525" algn="ctr">
              <a:solidFill>
                <a:schemeClr val="tx1">
                  <a:alpha val="88000"/>
                </a:schemeClr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A30831"/>
              </a:solidFill>
              <a:ln w="9525" algn="ctr">
                <a:solidFill>
                  <a:schemeClr val="tx1">
                    <a:alpha val="18000"/>
                  </a:scheme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FB9-44D4-B6B9-1B0C2E021DDB}"/>
              </c:ext>
            </c:extLst>
          </c:dPt>
          <c:dLbls>
            <c:dLbl>
              <c:idx val="0"/>
              <c:layout>
                <c:manualLayout>
                  <c:x val="0"/>
                  <c:y val="-1.401541695865451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8FB9-44D4-B6B9-1B0C2E021DDB}"/>
                </c:ext>
              </c:extLst>
            </c:dLbl>
            <c:dLbl>
              <c:idx val="1"/>
              <c:layout>
                <c:manualLayout>
                  <c:x val="0"/>
                  <c:y val="-1.051156271899089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8FB9-44D4-B6B9-1B0C2E021DDB}"/>
                </c:ext>
              </c:extLst>
            </c:dLbl>
            <c:dLbl>
              <c:idx val="2"/>
              <c:layout>
                <c:manualLayout>
                  <c:x val="0"/>
                  <c:y val="-1.051156271899089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8FB9-44D4-B6B9-1B0C2E021DDB}"/>
                </c:ext>
              </c:extLst>
            </c:dLbl>
            <c:dLbl>
              <c:idx val="3"/>
              <c:layout>
                <c:manualLayout>
                  <c:x val="0"/>
                  <c:y val="-1.051156271899089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8FB9-44D4-B6B9-1B0C2E021D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tr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6.7</c:v>
                </c:pt>
                <c:pt idx="1">
                  <c:v>28.5</c:v>
                </c:pt>
                <c:pt idx="2">
                  <c:v>22.5</c:v>
                </c:pt>
                <c:pt idx="3">
                  <c:v>19.551607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FB9-44D4-B6B9-1B0C2E021DDB}"/>
            </c:ext>
          </c:extLst>
        </c:ser>
        <c:ser>
          <c:idx val="1"/>
          <c:order val="1"/>
          <c:spPr>
            <a:solidFill>
              <a:schemeClr val="bg1">
                <a:lumMod val="50000"/>
              </a:schemeClr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051156271899089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8FB9-44D4-B6B9-1B0C2E021DDB}"/>
                </c:ext>
              </c:extLst>
            </c:dLbl>
            <c:dLbl>
              <c:idx val="1"/>
              <c:layout>
                <c:manualLayout>
                  <c:x val="0"/>
                  <c:y val="-1.051156271899089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8FB9-44D4-B6B9-1B0C2E021DDB}"/>
                </c:ext>
              </c:extLst>
            </c:dLbl>
            <c:dLbl>
              <c:idx val="2"/>
              <c:layout>
                <c:manualLayout>
                  <c:x val="0"/>
                  <c:y val="-1.051156271899089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8FB9-44D4-B6B9-1B0C2E021DDB}"/>
                </c:ext>
              </c:extLst>
            </c:dLbl>
            <c:dLbl>
              <c:idx val="3"/>
              <c:layout>
                <c:manualLayout>
                  <c:x val="0"/>
                  <c:y val="-1.4015416958654519E-3"/>
                </c:manualLayout>
              </c:layout>
              <c:tx>
                <c:rich>
                  <a:bodyPr wrap="none"/>
                  <a:lstStyle/>
                  <a:p>
                    <a:pPr>
                      <a:defRPr sz="1000" b="1" kern="120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en-US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25,4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8FB9-44D4-B6B9-1B0C2E021D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tr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7.399999999999995</c:v>
                </c:pt>
                <c:pt idx="1">
                  <c:v>17.100000000000001</c:v>
                </c:pt>
                <c:pt idx="2">
                  <c:v>23.6</c:v>
                </c:pt>
                <c:pt idx="3">
                  <c:v>25.31726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FB9-44D4-B6B9-1B0C2E021D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603276992"/>
        <c:axId val="1"/>
      </c:barChart>
      <c:catAx>
        <c:axId val="6032769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032769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955801104972375E-2"/>
          <c:y val="0.12594113620807665"/>
          <c:w val="0.96408839779005528"/>
          <c:h val="0.83846680355920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791C3F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791C3F"/>
              </a:solidFill>
              <a:ln w="9525" cmpd="sng" algn="ctr">
                <a:solidFill>
                  <a:srgbClr val="791C3F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0"/>
                  <c:y val="7.32375085557837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rgbClr val="791C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FEA8-41B3-A2CA-D57546BFAB9C}"/>
                </c:ext>
              </c:extLst>
            </c:dLbl>
            <c:dLbl>
              <c:idx val="1"/>
              <c:layout>
                <c:manualLayout>
                  <c:x val="0"/>
                  <c:y val="7.32375085557837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rgbClr val="791C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FEA8-41B3-A2CA-D57546BFAB9C}"/>
                </c:ext>
              </c:extLst>
            </c:dLbl>
            <c:dLbl>
              <c:idx val="2"/>
              <c:layout>
                <c:manualLayout>
                  <c:x val="0"/>
                  <c:y val="-7.7344284736481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rgbClr val="791C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FEA8-41B3-A2CA-D57546BFAB9C}"/>
                </c:ext>
              </c:extLst>
            </c:dLbl>
            <c:dLbl>
              <c:idx val="3"/>
              <c:layout>
                <c:manualLayout>
                  <c:x val="0"/>
                  <c:y val="-7.7344284736481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rgbClr val="791C3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FEA8-41B3-A2CA-D57546BFAB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984</c:v>
                </c:pt>
                <c:pt idx="1">
                  <c:v>1858</c:v>
                </c:pt>
                <c:pt idx="2">
                  <c:v>2614</c:v>
                </c:pt>
                <c:pt idx="3">
                  <c:v>36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EA8-41B3-A2CA-D57546BFAB9C}"/>
            </c:ext>
          </c:extLst>
        </c:ser>
        <c:ser>
          <c:idx val="1"/>
          <c:order val="1"/>
          <c:spPr>
            <a:ln w="28575" cmpd="sng" algn="ctr">
              <a:solidFill>
                <a:srgbClr val="4C6C9C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4C6C9C"/>
              </a:solidFill>
              <a:ln w="9525" cmpd="sng" algn="ctr">
                <a:solidFill>
                  <a:srgbClr val="4C6C9C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FEA8-41B3-A2CA-D57546BFAB9C}"/>
              </c:ext>
            </c:extLst>
          </c:dPt>
          <c:dPt>
            <c:idx val="1"/>
            <c:marker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FEA8-41B3-A2CA-D57546BFAB9C}"/>
              </c:ext>
            </c:extLst>
          </c:dPt>
          <c:dPt>
            <c:idx val="2"/>
            <c:marker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FEA8-41B3-A2CA-D57546BFAB9C}"/>
              </c:ext>
            </c:extLst>
          </c:dPt>
          <c:dPt>
            <c:idx val="3"/>
            <c:marker>
              <c:spPr>
                <a:solidFill>
                  <a:srgbClr val="364D6E"/>
                </a:solidFill>
                <a:ln w="9525" cmpd="sng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FEA8-41B3-A2CA-D57546BFAB9C}"/>
              </c:ext>
            </c:extLst>
          </c:dPt>
          <c:dLbls>
            <c:dLbl>
              <c:idx val="1"/>
              <c:layout>
                <c:manualLayout>
                  <c:x val="0"/>
                  <c:y val="-7.7344284736481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FEA8-41B3-A2CA-D57546BFAB9C}"/>
                </c:ext>
              </c:extLst>
            </c:dLbl>
            <c:dLbl>
              <c:idx val="2"/>
              <c:layout>
                <c:manualLayout>
                  <c:x val="2.9005524861878452E-2"/>
                  <c:y val="5.338809034907597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FEA8-41B3-A2CA-D57546BFAB9C}"/>
                </c:ext>
              </c:extLst>
            </c:dLbl>
            <c:dLbl>
              <c:idx val="3"/>
              <c:layout>
                <c:manualLayout>
                  <c:x val="3.7292817679558013E-2"/>
                  <c:y val="5.40725530458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FEA8-41B3-A2CA-D57546BFAB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1858</c:v>
                </c:pt>
                <c:pt idx="2">
                  <c:v>2420</c:v>
                </c:pt>
                <c:pt idx="3">
                  <c:v>32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EA8-41B3-A2CA-D57546BFAB9C}"/>
            </c:ext>
          </c:extLst>
        </c:ser>
        <c:ser>
          <c:idx val="2"/>
          <c:order val="2"/>
          <c:spPr>
            <a:ln w="19050" cmpd="sng" algn="ctr">
              <a:solidFill>
                <a:schemeClr val="tx2"/>
              </a:solidFill>
              <a:prstDash val="dash"/>
            </a:ln>
          </c:spPr>
          <c:marker>
            <c:symbol val="diamond"/>
            <c:size val="5"/>
            <c:spPr>
              <a:solidFill>
                <a:schemeClr val="tx2"/>
              </a:solidFill>
              <a:ln w="9525" cmpd="sng" algn="ctr">
                <a:solidFill>
                  <a:schemeClr val="tx2"/>
                </a:solidFill>
                <a:prstDash val="solid"/>
              </a:ln>
            </c:spPr>
          </c:marker>
          <c:dLbls>
            <c:dLbl>
              <c:idx val="2"/>
              <c:layout>
                <c:manualLayout>
                  <c:x val="0"/>
                  <c:y val="-7.7344284736481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FEA8-41B3-A2CA-D57546BFAB9C}"/>
                </c:ext>
              </c:extLst>
            </c:dLbl>
            <c:dLbl>
              <c:idx val="3"/>
              <c:layout>
                <c:manualLayout>
                  <c:x val="0"/>
                  <c:y val="-7.73442847364818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tr-T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FEA8-41B3-A2CA-D57546BFAB9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194</c:v>
                </c:pt>
                <c:pt idx="3">
                  <c:v>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FEA8-41B3-A2CA-D57546BFAB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4669864"/>
        <c:axId val="1"/>
      </c:lineChart>
      <c:catAx>
        <c:axId val="644669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0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446698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3A6F0BC-C181-41B4-A1DB-00732523CC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tr-T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6FABF5-76AB-4992-BD25-BD2A9BC8EB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96B92A01-48D8-4F3E-8405-98A175EFF85A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801991-95F1-42A5-9113-B69018B21B5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tr-T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EDDB59-47EB-4568-B561-9DC7098AA96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E9920EAA-AD9E-4B66-87E7-FC04983CD54D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340241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CF7BA996-0501-475B-890D-84DFA5E31D3A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77"/>
            <a:ext cx="5852160" cy="3780473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E6FD5AC0-6483-4797-9D8F-CF71B4999E08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1897287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1</a:t>
            </a:fld>
            <a:endParaRPr lang="tr-TR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459450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68894EEE-D277-4075-BEDA-8718592942BE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10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153605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11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469653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12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4624162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13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2253629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14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539335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15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554869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16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916357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9484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1009484">
                <a:defRPr/>
              </a:pPr>
              <a:t>17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01529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9484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1009484">
                <a:defRPr/>
              </a:pPr>
              <a:t>18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674404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9484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1009484">
                <a:defRPr/>
              </a:pPr>
              <a:t>19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30863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</a:t>
            </a:fld>
            <a:endParaRPr lang="tr-TR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182856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/>
              <a:t>ÇSRD konusunda not: </a:t>
            </a:r>
            <a:r>
              <a:rPr lang="tr-TR" sz="1300" dirty="0"/>
              <a:t>Kredi vadesi 24 ay ve üzeri, kredi tutarı 10 milyon ABD Doları üzerinde olan yatırım/proje veya Türk Eximbank payı 10 milyon ABD Doları’nın altında ve vadesi 24 ay ve üzerindeki kredi konusu faaliyetlerin duyarlı alanlar içinde/yakınında yer alan ya da ciddi insan hakları etkilerinin oluşma ihtimali yüksek yatırım/proje ve kredilendirilmesi planlanan müşteri için “P2.D1 Çevresel ve Sosyal Risk Değerlendirme </a:t>
            </a:r>
            <a:r>
              <a:rPr lang="tr-TR" sz="1300" dirty="0" err="1"/>
              <a:t>Modeli”i</a:t>
            </a:r>
            <a:r>
              <a:rPr lang="tr-TR" sz="1300" dirty="0"/>
              <a:t> aracılığıyla ön değerlendirmede bulunarak çevresel ve sosyal risk sınıflandırması yapılır.</a:t>
            </a:r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86ECC8-B345-4E9A-AAC4-58A3F57840FD}" type="slidenum">
              <a:rPr lang="tr-TR" smtClean="0"/>
              <a:t>20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508459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1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58824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2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24504166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D86ECC8-B345-4E9A-AAC4-58A3F57840FD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3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848485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2BEED42-BDB6-4CC0-9775-D4637D79F8E8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4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73266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2BEED42-BDB6-4CC0-9775-D4637D79F8E8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5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3635946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2BEED42-BDB6-4CC0-9775-D4637D79F8E8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6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326059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2BEED42-BDB6-4CC0-9775-D4637D79F8E8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7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3783894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2BEED42-BDB6-4CC0-9775-D4637D79F8E8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8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6053808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2BEED42-BDB6-4CC0-9775-D4637D79F8E8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29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10865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3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6563259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2BEED42-BDB6-4CC0-9775-D4637D79F8E8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30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1711122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2BEED42-BDB6-4CC0-9775-D4637D79F8E8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31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177580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2BEED42-BDB6-4CC0-9775-D4637D79F8E8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32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6250848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33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227011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34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363597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35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0631638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36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0850216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37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84670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1644956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9484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1009484">
                <a:defRPr/>
              </a:pPr>
              <a:t>39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38407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4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4537169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09484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09484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1009484">
                <a:defRPr/>
              </a:pPr>
              <a:t>40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256631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5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21810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6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914440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7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529672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8</a:t>
            </a:fld>
            <a:endParaRPr lang="tr-T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00563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90661">
              <a:defRPr/>
            </a:pPr>
            <a:endParaRPr lang="tr-TR" sz="1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90661">
              <a:defRPr/>
            </a:pPr>
            <a:endParaRPr lang="tr-TR" sz="1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661">
              <a:defRPr/>
            </a:pPr>
            <a:fld id="{DAB2C81C-3F48-48F1-AA70-5593C0BE22D2}" type="slidenum">
              <a:rPr lang="tr-TR" sz="1400">
                <a:solidFill>
                  <a:prstClr val="black"/>
                </a:solidFill>
                <a:latin typeface="Calibri" panose="020F0502020204030204"/>
              </a:rPr>
              <a:pPr defTabSz="990661">
                <a:defRPr/>
              </a:pPr>
              <a:t>9</a:t>
            </a:fld>
            <a:endParaRPr lang="tr-TR" sz="14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40928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5A019F-BC74-43E2-9853-EDE07B82F2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68A0C6-83DF-4CA7-878F-6F376AE461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693692-C8BF-4832-8FA9-7C7329D4B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CF509A-EE2C-477F-A7CA-EBF80C48C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32E20A-CAF6-4757-BB14-92EB886D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80454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CD12E-E4C3-4E14-8F6C-B2FA1C475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52A829-BC61-4D0D-8218-895F2DBFCA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D11A09-0D96-4DFF-B221-23B9BC11EA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9233EA-FB5A-4AA5-9A28-13F8C3BA81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49A954-6E72-4EA1-AB40-98249ED1B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293894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2C0F33D-6E67-4910-82D1-ED0FD7D6F3C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667BB8-C8C7-49C7-805B-C96FE76653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64706F-5E4A-47A2-BF7C-1BC715D796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01B560-6E55-4286-B727-FE63A7BBF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C2AF83-202B-45B3-937A-090A63EF4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968726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753601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564760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991518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39717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15826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087989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677518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593">
          <p15:clr>
            <a:srgbClr val="FBAE40"/>
          </p15:clr>
        </p15:guide>
        <p15:guide id="3" orient="horz" pos="272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112399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042A1-3CD3-428D-8FF0-698A412D0D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68A8FF-7F3E-444C-BE16-0FAB8955E1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5C7084-A110-4F68-8807-2F8A4C6AF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B062E2-1FA1-4149-975D-49D85C43E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1AD23F-1DF5-47FA-B9B2-AC7C2298C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11016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085927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947222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834915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4EFC6E-3622-4063-A30C-2BAE337A0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1206C4-DF13-4FE8-A30D-DD60D24609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32740D-8417-49F3-9FD6-B09EA97F8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350A9B-03EE-4DF0-B303-62E881AC47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EBAFF8-AD52-4E22-9D99-D5DEC6D47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216523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310A8-6234-4850-910B-1A5798F8B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90D8B8-3F5C-4D41-AFA3-E59B9148E9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11B25C-F84B-4530-94C5-BB1B43F980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4CD8C9-2F98-4905-8929-169D319BA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D3AA1B-805A-45AF-96B0-54252BE1E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6FF17A-DBF9-4C50-9A98-D7692BD28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14593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D9390-F904-4EE1-94F4-A2FC048CA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33D54-1174-4D97-BC42-9FE7E82BF5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56C93D-16EF-4C6D-A99C-F44DF831F5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7B3AE9-B727-4B24-A7A8-AC4711B01B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B1DDFDC-11B6-4286-ACED-3956D1246E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56CB50-3E5B-4923-8323-9018616166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10334F-B41C-4C18-819F-4C49F9A126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A0FCDA-D465-4382-9DB2-C6622DFA2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54037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E5ED8-DE93-4433-A56F-9902DE2E0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E6C177F-73BF-4860-BE37-4436B71102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83799F-B1AA-4481-95D4-0A92388F1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E422E-019D-4C0B-8BF8-7AFB8A8A4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91611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6ABCB1-4980-44E7-9303-0367212B6D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5C8B62-70E1-4738-8DF5-DC7D9E230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8DF515-5B85-4362-B49F-CA92C3182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017183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E35898-6026-4200-8C72-134E906CF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A87F31-AE62-4234-8CB2-C41B844276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CA7DE1-29F2-46FA-A8A5-BA596D1B26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8F77EA-77DE-4519-9232-D4639F493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75AA09-48EE-42E9-85BF-07EF666B3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78F713-3823-4D9D-A83F-217D15097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52334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9C02BB-2176-4F89-8351-6E3F6BD5B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0625C4-7BFA-48B3-A3A8-9D43AFB0C1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EC495F-2C3A-4C19-A82B-D590427E23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35EAFD-526B-48DE-8DC3-1BA94C6D6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AFEF4F-0401-47CC-AC59-948BE33F0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34DCCF-80B3-40AC-8561-2868982A0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70654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3C153A-242E-4614-B1FB-3218359F2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C47A5A-F3D7-4F45-9FD2-4CD4A4462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DA37DB-15F9-44F7-97C3-23B0072667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193EE8-2314-4F17-86CE-9788D11A0157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B6EA52-1FBB-4FEF-8B11-D33768F67A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B21F50-3075-41C6-AEC6-FC70698E1B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9C1AE-B4C5-4F88-9E1B-4AB28C088DF0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54529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BFF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15" imgW="359" imgH="358" progId="TCLayout.ActiveDocument.1">
                  <p:embed/>
                </p:oleObj>
              </mc:Choice>
              <mc:Fallback>
                <p:oleObj name="think-cell Slide" r:id="rId15" imgW="359" imgH="358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76ECA0-2715-43E3-97AB-8117C3ABA575}" type="datetimeFigureOut">
              <a:rPr lang="tr-TR" smtClean="0"/>
              <a:t>6.04.2023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0B1C17-1457-476E-8B8C-1C839438DA5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01551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tags" Target="../tags/tag63.xml"/><Relationship Id="rId39" Type="http://schemas.openxmlformats.org/officeDocument/2006/relationships/chart" Target="../charts/chart4.xml"/><Relationship Id="rId3" Type="http://schemas.openxmlformats.org/officeDocument/2006/relationships/tags" Target="../tags/tag40.xml"/><Relationship Id="rId21" Type="http://schemas.openxmlformats.org/officeDocument/2006/relationships/tags" Target="../tags/tag58.xml"/><Relationship Id="rId34" Type="http://schemas.openxmlformats.org/officeDocument/2006/relationships/tags" Target="../tags/tag71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33" Type="http://schemas.openxmlformats.org/officeDocument/2006/relationships/tags" Target="../tags/tag70.xml"/><Relationship Id="rId38" Type="http://schemas.openxmlformats.org/officeDocument/2006/relationships/image" Target="../media/image1.emf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tags" Target="../tags/tag66.xml"/><Relationship Id="rId1" Type="http://schemas.openxmlformats.org/officeDocument/2006/relationships/vmlDrawing" Target="../drawings/vmlDrawing2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32" Type="http://schemas.openxmlformats.org/officeDocument/2006/relationships/tags" Target="../tags/tag69.xml"/><Relationship Id="rId37" Type="http://schemas.openxmlformats.org/officeDocument/2006/relationships/oleObject" Target="../embeddings/oleObject2.bin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36" Type="http://schemas.openxmlformats.org/officeDocument/2006/relationships/notesSlide" Target="../notesSlides/notesSlide10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31" Type="http://schemas.openxmlformats.org/officeDocument/2006/relationships/tags" Target="../tags/tag68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tags" Target="../tags/tag67.xml"/><Relationship Id="rId35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jpeg"/><Relationship Id="rId5" Type="http://schemas.openxmlformats.org/officeDocument/2006/relationships/image" Target="../media/image15.jp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74.xml"/><Relationship Id="rId7" Type="http://schemas.openxmlformats.org/officeDocument/2006/relationships/image" Target="../media/image20.jpe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9.jpeg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7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7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notesSlide" Target="../notesSlides/notesSlide4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chart" Target="../charts/chart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chart" Target="../charts/chart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image" Target="../media/image4.png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chart" Target="../charts/char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3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82" name="Straight Connector 181"/>
          <p:cNvCxnSpPr/>
          <p:nvPr/>
        </p:nvCxnSpPr>
        <p:spPr>
          <a:xfrm>
            <a:off x="3986019" y="5922918"/>
            <a:ext cx="4219962" cy="0"/>
          </a:xfrm>
          <a:prstGeom prst="line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3" name="TextBox 182"/>
          <p:cNvSpPr txBox="1"/>
          <p:nvPr/>
        </p:nvSpPr>
        <p:spPr>
          <a:xfrm>
            <a:off x="5498721" y="6150731"/>
            <a:ext cx="595035" cy="338554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20000"/>
              </a:prstClr>
            </a:outerShdw>
          </a:effec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02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397781" y="5165730"/>
            <a:ext cx="7027886" cy="52322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ürkiye’nin Resmi İhracat Destek Kuruluşu</a:t>
            </a:r>
          </a:p>
        </p:txBody>
      </p:sp>
      <p:pic>
        <p:nvPicPr>
          <p:cNvPr id="186" name="Picture 185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441" y="1989000"/>
            <a:ext cx="4563118" cy="2880000"/>
          </a:xfrm>
          <a:prstGeom prst="rect">
            <a:avLst/>
          </a:prstGeom>
          <a:solidFill>
            <a:srgbClr val="FAFFFF">
              <a:alpha val="0"/>
            </a:srgbClr>
          </a:solidFill>
          <a:effectLst>
            <a:outerShdw blurRad="50800" dist="50800" algn="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32519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37" imgW="359" imgH="358" progId="TCLayout.ActiveDocument.1">
                  <p:embed/>
                </p:oleObj>
              </mc:Choice>
              <mc:Fallback>
                <p:oleObj name="think-cell Slide" r:id="rId37" imgW="359" imgH="35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-104862" y="272760"/>
            <a:ext cx="1231423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44475" tIns="71438" rIns="0" bIns="6985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sz="24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+mn-lt"/>
              </a:rPr>
              <a:t>RAKAMLARLA İGE TEMİNATLI KREDİLER</a:t>
            </a:r>
          </a:p>
        </p:txBody>
      </p:sp>
      <p:sp>
        <p:nvSpPr>
          <p:cNvPr id="23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15987" y="1098549"/>
            <a:ext cx="4008438" cy="457200"/>
          </a:xfrm>
          <a:prstGeom prst="rect">
            <a:avLst/>
          </a:prstGeom>
          <a:solidFill>
            <a:srgbClr val="A3083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0488" rIns="0" bIns="92075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+mn-lt"/>
              </a:rPr>
              <a:t>FİRMA SAYISI</a:t>
            </a:r>
          </a:p>
        </p:txBody>
      </p:sp>
      <p:sp>
        <p:nvSpPr>
          <p:cNvPr id="23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597650" y="1100137"/>
            <a:ext cx="4541838" cy="457200"/>
          </a:xfrm>
          <a:prstGeom prst="rect">
            <a:avLst/>
          </a:prstGeom>
          <a:solidFill>
            <a:srgbClr val="A3083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90488" rIns="0" bIns="92075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+mn-lt"/>
              </a:rPr>
              <a:t>KULLANDIRIM TUTARI (MİLYON TL)</a:t>
            </a:r>
          </a:p>
        </p:txBody>
      </p:sp>
      <p:cxnSp>
        <p:nvCxnSpPr>
          <p:cNvPr id="432" name="Straight Connector 431"/>
          <p:cNvCxnSpPr/>
          <p:nvPr/>
        </p:nvCxnSpPr>
        <p:spPr>
          <a:xfrm flipV="1">
            <a:off x="5751809" y="1674024"/>
            <a:ext cx="0" cy="4875019"/>
          </a:xfrm>
          <a:prstGeom prst="line">
            <a:avLst/>
          </a:prstGeom>
          <a:ln w="158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0" name="Chart 49"/>
          <p:cNvGraphicFramePr/>
          <p:nvPr>
            <p:custDataLst>
              <p:tags r:id="rId7"/>
            </p:custDataLst>
            <p:extLst/>
          </p:nvPr>
        </p:nvGraphicFramePr>
        <p:xfrm>
          <a:off x="693738" y="2792413"/>
          <a:ext cx="4597400" cy="2319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3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90600" y="5079999"/>
            <a:ext cx="6810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7159BF1-F13C-45E3-BCC0-2C62796AEF66}" type="datetime'''3''''''''0'''''''' ''''H''az''ir''''''a''''''n''''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 Haziran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185988" y="5079999"/>
            <a:ext cx="5048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A76FC46-EE21-4E5C-A78F-FBF16B05EF13}" type="datetime'''3''''''''''''''0'' ''Eyl''''''''''''''ül''''''''''''''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 Eylül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62313" y="5079999"/>
            <a:ext cx="5699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B6495A-4B00-4F40-BD8A-745FB2B87B36}" type="datetime'''31'''''''''''''''''''''''' ''''Ar''''a''''''l''''ı''''''k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1 Aralık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222749" y="5080000"/>
            <a:ext cx="8636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F06F5A-6C39-4235-8B5B-F2D5DFB8F30F}" type="datetime'''31 M''a''''r''''''''''t ''202''''''''''''3''''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1 Mart 2023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19" name="Straight Connector 18"/>
          <p:cNvCxnSpPr/>
          <p:nvPr>
            <p:custDataLst>
              <p:tags r:id="rId12"/>
            </p:custDataLst>
          </p:nvPr>
        </p:nvCxnSpPr>
        <p:spPr bwMode="gray">
          <a:xfrm>
            <a:off x="1549400" y="5743575"/>
            <a:ext cx="320675" cy="0"/>
          </a:xfrm>
          <a:prstGeom prst="line">
            <a:avLst/>
          </a:prstGeom>
          <a:ln w="19050" cap="rnd" cmpd="sng" algn="ctr">
            <a:solidFill>
              <a:srgbClr val="791C3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3"/>
            </p:custDataLst>
          </p:nvPr>
        </p:nvCxnSpPr>
        <p:spPr bwMode="gray">
          <a:xfrm>
            <a:off x="1554163" y="5967413"/>
            <a:ext cx="311150" cy="0"/>
          </a:xfrm>
          <a:prstGeom prst="line">
            <a:avLst/>
          </a:prstGeom>
          <a:ln w="28575" cap="rnd" cmpd="sng" algn="ctr">
            <a:solidFill>
              <a:srgbClr val="4C6C9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/>
          <p:nvPr>
            <p:custDataLst>
              <p:tags r:id="rId14"/>
            </p:custDataLst>
          </p:nvPr>
        </p:nvCxnSpPr>
        <p:spPr bwMode="gray">
          <a:xfrm>
            <a:off x="2798763" y="5743575"/>
            <a:ext cx="5715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/>
          <p:nvPr>
            <p:custDataLst>
              <p:tags r:id="rId15"/>
            </p:custDataLst>
          </p:nvPr>
        </p:nvCxnSpPr>
        <p:spPr bwMode="gray">
          <a:xfrm flipH="1">
            <a:off x="2535238" y="5743575"/>
            <a:ext cx="5715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Oval 16"/>
          <p:cNvSpPr/>
          <p:nvPr>
            <p:custDataLst>
              <p:tags r:id="rId16"/>
            </p:custDataLst>
          </p:nvPr>
        </p:nvSpPr>
        <p:spPr bwMode="auto">
          <a:xfrm>
            <a:off x="1677988" y="5711825"/>
            <a:ext cx="63500" cy="63500"/>
          </a:xfrm>
          <a:prstGeom prst="ellipse">
            <a:avLst/>
          </a:prstGeom>
          <a:solidFill>
            <a:srgbClr val="791C3F"/>
          </a:solidFill>
          <a:ln w="9525" cap="flat" cmpd="sng" algn="ctr">
            <a:solidFill>
              <a:srgbClr val="791C3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Isosceles Triangle 20"/>
          <p:cNvSpPr/>
          <p:nvPr>
            <p:custDataLst>
              <p:tags r:id="rId17"/>
            </p:custDataLst>
          </p:nvPr>
        </p:nvSpPr>
        <p:spPr bwMode="auto">
          <a:xfrm>
            <a:off x="1677988" y="5935663"/>
            <a:ext cx="63500" cy="63500"/>
          </a:xfrm>
          <a:prstGeom prst="triangle">
            <a:avLst/>
          </a:prstGeom>
          <a:solidFill>
            <a:srgbClr val="364D6E"/>
          </a:solidFill>
          <a:ln w="9525" cap="flat" cmpd="sng" algn="ctr">
            <a:solidFill>
              <a:srgbClr val="364D6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Diamond 226"/>
          <p:cNvSpPr/>
          <p:nvPr>
            <p:custDataLst>
              <p:tags r:id="rId18"/>
            </p:custDataLst>
          </p:nvPr>
        </p:nvSpPr>
        <p:spPr bwMode="auto">
          <a:xfrm>
            <a:off x="2663825" y="5711825"/>
            <a:ext cx="63500" cy="63500"/>
          </a:xfrm>
          <a:prstGeom prst="diamond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930400" y="5672138"/>
            <a:ext cx="4937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49A1E62-B0F2-4033-A70C-2696E7AEFC0A}" type="datetime'''''''''''T''''''''''op''''''''''''l''''''''am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oplam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20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930400" y="5895975"/>
            <a:ext cx="3984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OBİ</a:t>
            </a: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916238" y="5672138"/>
            <a:ext cx="6905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OBİ Dışı</a:t>
            </a: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50792-A92F-40E6-8EAA-61A1BD9C6E60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Rectangle 22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22"/>
            </p:custDataLst>
          </p:nvPr>
        </p:nvSpPr>
        <p:spPr bwMode="auto">
          <a:xfrm>
            <a:off x="9758363" y="2617788"/>
            <a:ext cx="1052512" cy="2411412"/>
          </a:xfrm>
          <a:prstGeom prst="rect">
            <a:avLst/>
          </a:prstGeom>
          <a:solidFill>
            <a:srgbClr val="A3083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Rectangle 128"/>
          <p:cNvSpPr/>
          <p:nvPr>
            <p:custDataLst>
              <p:tags r:id="rId23"/>
            </p:custDataLst>
          </p:nvPr>
        </p:nvSpPr>
        <p:spPr bwMode="auto">
          <a:xfrm>
            <a:off x="8704263" y="3302000"/>
            <a:ext cx="1054100" cy="1727200"/>
          </a:xfrm>
          <a:prstGeom prst="rect">
            <a:avLst/>
          </a:prstGeom>
          <a:solidFill>
            <a:srgbClr val="A5A5A5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Rectangle 120"/>
          <p:cNvSpPr/>
          <p:nvPr>
            <p:custDataLst>
              <p:tags r:id="rId24"/>
            </p:custDataLst>
          </p:nvPr>
        </p:nvSpPr>
        <p:spPr bwMode="auto">
          <a:xfrm>
            <a:off x="7651751" y="4206875"/>
            <a:ext cx="1052513" cy="822325"/>
          </a:xfrm>
          <a:prstGeom prst="rect">
            <a:avLst/>
          </a:prstGeom>
          <a:solidFill>
            <a:srgbClr val="57575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Rectangle 105"/>
          <p:cNvSpPr/>
          <p:nvPr>
            <p:custDataLst>
              <p:tags r:id="rId25"/>
            </p:custDataLst>
          </p:nvPr>
        </p:nvSpPr>
        <p:spPr bwMode="auto">
          <a:xfrm>
            <a:off x="6597650" y="4627563"/>
            <a:ext cx="1054100" cy="4016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9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5" name="Straight Connector 94"/>
          <p:cNvCxnSpPr/>
          <p:nvPr>
            <p:custDataLst>
              <p:tags r:id="rId26"/>
            </p:custDataLst>
          </p:nvPr>
        </p:nvCxnSpPr>
        <p:spPr bwMode="auto">
          <a:xfrm>
            <a:off x="6592888" y="5029200"/>
            <a:ext cx="422275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762750" y="5080000"/>
            <a:ext cx="7254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D18BFCB-7B59-4616-9D6E-00CA389E4C73}" type="datetime'3''0 ''''''''''''''H''a''''''z''''ir''''a''''n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 Haziran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8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908925" y="5080000"/>
            <a:ext cx="5381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521F43E-68D5-4AE1-BC32-AEB7C01386CC}" type="datetime'''''''''''''''30 ''''''''E''''''''''''''y''l''''ü''''l''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0 Eylül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85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928100" y="5080000"/>
            <a:ext cx="606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B0D3754-8408-41F0-AF21-6434ED7417E5}" type="datetime'''3''''''''''''''''''1'' ''A''''r''a''''l''''''''ı''''''''''k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1 Aralık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79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931025" y="4437063"/>
            <a:ext cx="3873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E2F8945-3B9A-490B-9AE7-2D38237E3889}" type="datetime'3''''''''''''''.''''1''''''''''4''''''0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.140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8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983538" y="4016375"/>
            <a:ext cx="3873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BDF5899-3C26-4B29-9989-1BDE6FE0A033}" type="datetime'''''''''''''''''''''''''6''.''4''''''''''''''''''3''''2''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.432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89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999538" y="3111500"/>
            <a:ext cx="4635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3217D50-E586-4C21-AFC8-2DE951164AE7}" type="datetime'''''1''''''''''3''''''''''''''''''.''''''''''5''''13''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3.513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939338" y="5080000"/>
            <a:ext cx="6889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C1DC803-A1BE-4435-B6E2-3C117A3ECC95}" type="datetime'''''''''''''3''1''''-''''''''''''''''''''M''a''r-2''''3''''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1-Mar-23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052050" y="2427288"/>
            <a:ext cx="4635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532C3C4-6E71-4542-815C-12BA98288BA0}" type="datetime'''''''''''''''''18''''''''''''''''''''.''8''''''''''''7''3'''">
              <a:rPr kumimoji="0" lang="tr-TR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8.873</a:t>
            </a:fld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541464" y="6153705"/>
            <a:ext cx="3406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redi kullanan firmaların </a:t>
            </a:r>
            <a:r>
              <a:rPr kumimoji="0" lang="tr-TR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%90‘ı </a:t>
            </a: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OBİ'dir</a:t>
            </a:r>
            <a:r>
              <a:rPr kumimoji="0" lang="tr-TR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84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3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90" name="Rectangle 189"/>
          <p:cNvSpPr/>
          <p:nvPr/>
        </p:nvSpPr>
        <p:spPr>
          <a:xfrm flipV="1">
            <a:off x="4009855" y="2697804"/>
            <a:ext cx="4644000" cy="45719"/>
          </a:xfrm>
          <a:prstGeom prst="rect">
            <a:avLst/>
          </a:prstGeom>
          <a:solidFill>
            <a:srgbClr val="B51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4199515" y="2717018"/>
            <a:ext cx="435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</a:t>
            </a:r>
            <a:r>
              <a:rPr kumimoji="0" lang="tr-TR" sz="40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LACAK</a:t>
            </a:r>
            <a:endParaRPr kumimoji="0" lang="tr-TR" sz="32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666993" y="3454460"/>
            <a:ext cx="4858014" cy="831790"/>
            <a:chOff x="3421237" y="3454460"/>
            <a:chExt cx="4858014" cy="831790"/>
          </a:xfrm>
        </p:grpSpPr>
        <p:sp>
          <p:nvSpPr>
            <p:cNvPr id="187" name="Parallelogram 186"/>
            <p:cNvSpPr/>
            <p:nvPr/>
          </p:nvSpPr>
          <p:spPr>
            <a:xfrm>
              <a:off x="5145353" y="3562641"/>
              <a:ext cx="3133898" cy="723609"/>
            </a:xfrm>
            <a:prstGeom prst="parallelogram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Parallelogram 187"/>
            <p:cNvSpPr/>
            <p:nvPr/>
          </p:nvSpPr>
          <p:spPr>
            <a:xfrm>
              <a:off x="3421237" y="3562035"/>
              <a:ext cx="2056744" cy="723609"/>
            </a:xfrm>
            <a:prstGeom prst="parallelogram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3578859" y="3454460"/>
              <a:ext cx="459257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S</a:t>
              </a:r>
              <a:r>
                <a:rPr kumimoji="0" lang="tr-TR" sz="4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GORTASI</a:t>
              </a:r>
              <a:endParaRPr kumimoji="0" lang="tr-TR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9834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6" presetClass="emp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4" dur="1000" fill="hold"/>
                                        <p:tgtEl>
                                          <p:spTgt spid="191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0" grpId="0" animBg="1"/>
      <p:bldP spid="191" grpId="0"/>
      <p:bldP spid="191" grpI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ight Triangle 16"/>
          <p:cNvSpPr/>
          <p:nvPr/>
        </p:nvSpPr>
        <p:spPr>
          <a:xfrm flipH="1" flipV="1">
            <a:off x="4901494" y="2231296"/>
            <a:ext cx="404326" cy="372446"/>
          </a:xfrm>
          <a:prstGeom prst="rt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7" name="Right Triangle 6"/>
          <p:cNvSpPr/>
          <p:nvPr/>
        </p:nvSpPr>
        <p:spPr>
          <a:xfrm flipH="1" flipV="1">
            <a:off x="878769" y="2228850"/>
            <a:ext cx="427907" cy="372446"/>
          </a:xfrm>
          <a:prstGeom prst="rtTriangle">
            <a:avLst/>
          </a:prstGeom>
          <a:solidFill>
            <a:srgbClr val="9E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4" name="Parallelogram 3"/>
          <p:cNvSpPr/>
          <p:nvPr/>
        </p:nvSpPr>
        <p:spPr>
          <a:xfrm>
            <a:off x="762000" y="1600200"/>
            <a:ext cx="2705100" cy="3657600"/>
          </a:xfrm>
          <a:prstGeom prst="parallelogram">
            <a:avLst/>
          </a:prstGeom>
          <a:solidFill>
            <a:schemeClr val="bg1"/>
          </a:solidFill>
          <a:ln>
            <a:noFill/>
          </a:ln>
          <a:effectLst>
            <a:outerShdw blurRad="381000" dist="139700" dir="10800000" algn="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590541" y="1021925"/>
            <a:ext cx="3524250" cy="4724399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6" name="Parallelogram 5"/>
          <p:cNvSpPr/>
          <p:nvPr/>
        </p:nvSpPr>
        <p:spPr>
          <a:xfrm>
            <a:off x="877078" y="1600200"/>
            <a:ext cx="2761472" cy="628650"/>
          </a:xfrm>
          <a:prstGeom prst="parallelogram">
            <a:avLst/>
          </a:prstGeom>
          <a:solidFill>
            <a:srgbClr val="B51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46718" y="1653659"/>
            <a:ext cx="13298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</a:t>
            </a: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DİR</a:t>
            </a: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034212" y="2458093"/>
            <a:ext cx="22269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Risk yönetim aracı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464436" y="2824099"/>
            <a:ext cx="22269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icari risk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61233" y="3179626"/>
            <a:ext cx="22269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olitik risk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922021" y="3963223"/>
            <a:ext cx="16902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lacaklarınız sigor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güvencemiz altında</a:t>
            </a:r>
          </a:p>
        </p:txBody>
      </p:sp>
      <p:sp>
        <p:nvSpPr>
          <p:cNvPr id="14" name="Parallelogram 13"/>
          <p:cNvSpPr/>
          <p:nvPr/>
        </p:nvSpPr>
        <p:spPr>
          <a:xfrm>
            <a:off x="4773623" y="1559764"/>
            <a:ext cx="2705100" cy="3657600"/>
          </a:xfrm>
          <a:prstGeom prst="parallelogram">
            <a:avLst/>
          </a:prstGeom>
          <a:solidFill>
            <a:schemeClr val="bg1"/>
          </a:solidFill>
          <a:ln>
            <a:noFill/>
          </a:ln>
          <a:effectLst>
            <a:outerShdw blurRad="381000" dist="139700" dir="10800000" algn="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15" name="Parallelogram 14"/>
          <p:cNvSpPr/>
          <p:nvPr/>
        </p:nvSpPr>
        <p:spPr>
          <a:xfrm>
            <a:off x="4630557" y="1002092"/>
            <a:ext cx="3524250" cy="4724399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6" name="Parallelogram 15"/>
          <p:cNvSpPr/>
          <p:nvPr/>
        </p:nvSpPr>
        <p:spPr>
          <a:xfrm>
            <a:off x="4901828" y="1607265"/>
            <a:ext cx="2761472" cy="628650"/>
          </a:xfrm>
          <a:prstGeom prst="parallelogram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301147" y="1653659"/>
            <a:ext cx="17964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</a:t>
            </a: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RAFLA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29475" y="2712174"/>
            <a:ext cx="14954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hracatçı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064524" y="3557765"/>
            <a:ext cx="16161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ürk Eximbank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217228" y="4453342"/>
            <a:ext cx="9108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lıcı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5049698" y="4170584"/>
            <a:ext cx="872023" cy="813126"/>
            <a:chOff x="4876800" y="3933825"/>
            <a:chExt cx="1116013" cy="1116013"/>
          </a:xfrm>
        </p:grpSpPr>
        <p:grpSp>
          <p:nvGrpSpPr>
            <p:cNvPr id="24" name="Group 4"/>
            <p:cNvGrpSpPr>
              <a:grpSpLocks noChangeAspect="1"/>
            </p:cNvGrpSpPr>
            <p:nvPr/>
          </p:nvGrpSpPr>
          <p:grpSpPr bwMode="auto">
            <a:xfrm>
              <a:off x="4876800" y="3933825"/>
              <a:ext cx="1116013" cy="1116013"/>
              <a:chOff x="3072" y="2478"/>
              <a:chExt cx="703" cy="703"/>
            </a:xfrm>
          </p:grpSpPr>
          <p:sp>
            <p:nvSpPr>
              <p:cNvPr id="2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072" y="2478"/>
                <a:ext cx="703" cy="7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aramond" panose="020204040303010108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 5"/>
              <p:cNvSpPr>
                <a:spLocks noEditPoints="1"/>
              </p:cNvSpPr>
              <p:nvPr/>
            </p:nvSpPr>
            <p:spPr bwMode="auto">
              <a:xfrm>
                <a:off x="3117" y="2513"/>
                <a:ext cx="608" cy="626"/>
              </a:xfrm>
              <a:custGeom>
                <a:avLst/>
                <a:gdLst>
                  <a:gd name="T0" fmla="*/ 2778 w 5800"/>
                  <a:gd name="T1" fmla="*/ 200 h 5974"/>
                  <a:gd name="T2" fmla="*/ 2656 w 5800"/>
                  <a:gd name="T3" fmla="*/ 350 h 5974"/>
                  <a:gd name="T4" fmla="*/ 2677 w 5800"/>
                  <a:gd name="T5" fmla="*/ 592 h 5974"/>
                  <a:gd name="T6" fmla="*/ 2809 w 5800"/>
                  <a:gd name="T7" fmla="*/ 740 h 5974"/>
                  <a:gd name="T8" fmla="*/ 2895 w 5800"/>
                  <a:gd name="T9" fmla="*/ 940 h 5974"/>
                  <a:gd name="T10" fmla="*/ 2960 w 5800"/>
                  <a:gd name="T11" fmla="*/ 1001 h 5974"/>
                  <a:gd name="T12" fmla="*/ 2843 w 5800"/>
                  <a:gd name="T13" fmla="*/ 1118 h 5974"/>
                  <a:gd name="T14" fmla="*/ 2835 w 5800"/>
                  <a:gd name="T15" fmla="*/ 1215 h 5974"/>
                  <a:gd name="T16" fmla="*/ 2723 w 5800"/>
                  <a:gd name="T17" fmla="*/ 1134 h 5974"/>
                  <a:gd name="T18" fmla="*/ 2670 w 5800"/>
                  <a:gd name="T19" fmla="*/ 1012 h 5974"/>
                  <a:gd name="T20" fmla="*/ 2464 w 5800"/>
                  <a:gd name="T21" fmla="*/ 1124 h 5974"/>
                  <a:gd name="T22" fmla="*/ 2138 w 5800"/>
                  <a:gd name="T23" fmla="*/ 1400 h 5974"/>
                  <a:gd name="T24" fmla="*/ 63 w 5800"/>
                  <a:gd name="T25" fmla="*/ 2578 h 5974"/>
                  <a:gd name="T26" fmla="*/ 8 w 5800"/>
                  <a:gd name="T27" fmla="*/ 5480 h 5974"/>
                  <a:gd name="T28" fmla="*/ 160 w 5800"/>
                  <a:gd name="T29" fmla="*/ 5681 h 5974"/>
                  <a:gd name="T30" fmla="*/ 502 w 5800"/>
                  <a:gd name="T31" fmla="*/ 5713 h 5974"/>
                  <a:gd name="T32" fmla="*/ 645 w 5800"/>
                  <a:gd name="T33" fmla="*/ 2545 h 5974"/>
                  <a:gd name="T34" fmla="*/ 2625 w 5800"/>
                  <a:gd name="T35" fmla="*/ 1442 h 5974"/>
                  <a:gd name="T36" fmla="*/ 2808 w 5800"/>
                  <a:gd name="T37" fmla="*/ 1433 h 5974"/>
                  <a:gd name="T38" fmla="*/ 4124 w 5800"/>
                  <a:gd name="T39" fmla="*/ 2110 h 5974"/>
                  <a:gd name="T40" fmla="*/ 3144 w 5800"/>
                  <a:gd name="T41" fmla="*/ 2477 h 5974"/>
                  <a:gd name="T42" fmla="*/ 2241 w 5800"/>
                  <a:gd name="T43" fmla="*/ 2515 h 5974"/>
                  <a:gd name="T44" fmla="*/ 2246 w 5800"/>
                  <a:gd name="T45" fmla="*/ 5947 h 5974"/>
                  <a:gd name="T46" fmla="*/ 5134 w 5800"/>
                  <a:gd name="T47" fmla="*/ 5460 h 5974"/>
                  <a:gd name="T48" fmla="*/ 5783 w 5800"/>
                  <a:gd name="T49" fmla="*/ 5326 h 5974"/>
                  <a:gd name="T50" fmla="*/ 5800 w 5800"/>
                  <a:gd name="T51" fmla="*/ 3449 h 5974"/>
                  <a:gd name="T52" fmla="*/ 5689 w 5800"/>
                  <a:gd name="T53" fmla="*/ 2875 h 5974"/>
                  <a:gd name="T54" fmla="*/ 3361 w 5800"/>
                  <a:gd name="T55" fmla="*/ 1253 h 5974"/>
                  <a:gd name="T56" fmla="*/ 3230 w 5800"/>
                  <a:gd name="T57" fmla="*/ 1113 h 5974"/>
                  <a:gd name="T58" fmla="*/ 3134 w 5800"/>
                  <a:gd name="T59" fmla="*/ 877 h 5974"/>
                  <a:gd name="T60" fmla="*/ 3057 w 5800"/>
                  <a:gd name="T61" fmla="*/ 722 h 5974"/>
                  <a:gd name="T62" fmla="*/ 3203 w 5800"/>
                  <a:gd name="T63" fmla="*/ 529 h 5974"/>
                  <a:gd name="T64" fmla="*/ 3158 w 5800"/>
                  <a:gd name="T65" fmla="*/ 284 h 5974"/>
                  <a:gd name="T66" fmla="*/ 3037 w 5800"/>
                  <a:gd name="T67" fmla="*/ 160 h 5974"/>
                  <a:gd name="T68" fmla="*/ 2817 w 5800"/>
                  <a:gd name="T69" fmla="*/ 0 h 5974"/>
                  <a:gd name="T70" fmla="*/ 2717 w 5800"/>
                  <a:gd name="T71" fmla="*/ 5602 h 5974"/>
                  <a:gd name="T72" fmla="*/ 2587 w 5800"/>
                  <a:gd name="T73" fmla="*/ 2725 h 5974"/>
                  <a:gd name="T74" fmla="*/ 3134 w 5800"/>
                  <a:gd name="T75" fmla="*/ 5517 h 5974"/>
                  <a:gd name="T76" fmla="*/ 3209 w 5800"/>
                  <a:gd name="T77" fmla="*/ 2809 h 5974"/>
                  <a:gd name="T78" fmla="*/ 3667 w 5800"/>
                  <a:gd name="T79" fmla="*/ 5452 h 5974"/>
                  <a:gd name="T80" fmla="*/ 3554 w 5800"/>
                  <a:gd name="T81" fmla="*/ 2867 h 5974"/>
                  <a:gd name="T82" fmla="*/ 4062 w 5800"/>
                  <a:gd name="T83" fmla="*/ 3151 h 5974"/>
                  <a:gd name="T84" fmla="*/ 3934 w 5800"/>
                  <a:gd name="T85" fmla="*/ 5384 h 5974"/>
                  <a:gd name="T86" fmla="*/ 4055 w 5800"/>
                  <a:gd name="T87" fmla="*/ 2945 h 5974"/>
                  <a:gd name="T88" fmla="*/ 4450 w 5800"/>
                  <a:gd name="T89" fmla="*/ 4169 h 5974"/>
                  <a:gd name="T90" fmla="*/ 4317 w 5800"/>
                  <a:gd name="T91" fmla="*/ 2980 h 5974"/>
                  <a:gd name="T92" fmla="*/ 4761 w 5800"/>
                  <a:gd name="T93" fmla="*/ 3046 h 5974"/>
                  <a:gd name="T94" fmla="*/ 4784 w 5800"/>
                  <a:gd name="T95" fmla="*/ 5267 h 5974"/>
                  <a:gd name="T96" fmla="*/ 4686 w 5800"/>
                  <a:gd name="T97" fmla="*/ 3259 h 5974"/>
                  <a:gd name="T98" fmla="*/ 4743 w 5800"/>
                  <a:gd name="T99" fmla="*/ 3038 h 5974"/>
                  <a:gd name="T100" fmla="*/ 5076 w 5800"/>
                  <a:gd name="T101" fmla="*/ 3180 h 5974"/>
                  <a:gd name="T102" fmla="*/ 5000 w 5800"/>
                  <a:gd name="T103" fmla="*/ 5217 h 5974"/>
                  <a:gd name="T104" fmla="*/ 5015 w 5800"/>
                  <a:gd name="T105" fmla="*/ 3084 h 5974"/>
                  <a:gd name="T106" fmla="*/ 5361 w 5800"/>
                  <a:gd name="T107" fmla="*/ 5091 h 5974"/>
                  <a:gd name="T108" fmla="*/ 5328 w 5800"/>
                  <a:gd name="T109" fmla="*/ 5181 h 5974"/>
                  <a:gd name="T110" fmla="*/ 5300 w 5800"/>
                  <a:gd name="T111" fmla="*/ 4149 h 5974"/>
                  <a:gd name="T112" fmla="*/ 5357 w 5800"/>
                  <a:gd name="T113" fmla="*/ 3183 h 5974"/>
                  <a:gd name="T114" fmla="*/ 5634 w 5800"/>
                  <a:gd name="T115" fmla="*/ 4150 h 5974"/>
                  <a:gd name="T116" fmla="*/ 5606 w 5800"/>
                  <a:gd name="T117" fmla="*/ 5134 h 5974"/>
                  <a:gd name="T118" fmla="*/ 5573 w 5800"/>
                  <a:gd name="T119" fmla="*/ 5049 h 5974"/>
                  <a:gd name="T120" fmla="*/ 5578 w 5800"/>
                  <a:gd name="T121" fmla="*/ 3198 h 5974"/>
                  <a:gd name="T122" fmla="*/ 5616 w 5800"/>
                  <a:gd name="T123" fmla="*/ 3174 h 59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00" h="5974">
                    <a:moveTo>
                      <a:pt x="2817" y="87"/>
                    </a:moveTo>
                    <a:lnTo>
                      <a:pt x="2817" y="115"/>
                    </a:lnTo>
                    <a:lnTo>
                      <a:pt x="2813" y="154"/>
                    </a:lnTo>
                    <a:lnTo>
                      <a:pt x="2801" y="180"/>
                    </a:lnTo>
                    <a:lnTo>
                      <a:pt x="2778" y="200"/>
                    </a:lnTo>
                    <a:lnTo>
                      <a:pt x="2760" y="212"/>
                    </a:lnTo>
                    <a:lnTo>
                      <a:pt x="2748" y="220"/>
                    </a:lnTo>
                    <a:lnTo>
                      <a:pt x="2724" y="242"/>
                    </a:lnTo>
                    <a:lnTo>
                      <a:pt x="2691" y="284"/>
                    </a:lnTo>
                    <a:lnTo>
                      <a:pt x="2656" y="350"/>
                    </a:lnTo>
                    <a:lnTo>
                      <a:pt x="2636" y="417"/>
                    </a:lnTo>
                    <a:lnTo>
                      <a:pt x="2634" y="447"/>
                    </a:lnTo>
                    <a:lnTo>
                      <a:pt x="2635" y="477"/>
                    </a:lnTo>
                    <a:lnTo>
                      <a:pt x="2649" y="536"/>
                    </a:lnTo>
                    <a:lnTo>
                      <a:pt x="2677" y="592"/>
                    </a:lnTo>
                    <a:lnTo>
                      <a:pt x="2719" y="644"/>
                    </a:lnTo>
                    <a:lnTo>
                      <a:pt x="2745" y="669"/>
                    </a:lnTo>
                    <a:lnTo>
                      <a:pt x="2762" y="683"/>
                    </a:lnTo>
                    <a:lnTo>
                      <a:pt x="2789" y="711"/>
                    </a:lnTo>
                    <a:lnTo>
                      <a:pt x="2809" y="740"/>
                    </a:lnTo>
                    <a:lnTo>
                      <a:pt x="2822" y="769"/>
                    </a:lnTo>
                    <a:lnTo>
                      <a:pt x="2825" y="784"/>
                    </a:lnTo>
                    <a:lnTo>
                      <a:pt x="2833" y="814"/>
                    </a:lnTo>
                    <a:lnTo>
                      <a:pt x="2860" y="879"/>
                    </a:lnTo>
                    <a:lnTo>
                      <a:pt x="2895" y="940"/>
                    </a:lnTo>
                    <a:lnTo>
                      <a:pt x="2922" y="973"/>
                    </a:lnTo>
                    <a:lnTo>
                      <a:pt x="2938" y="987"/>
                    </a:lnTo>
                    <a:lnTo>
                      <a:pt x="2945" y="990"/>
                    </a:lnTo>
                    <a:lnTo>
                      <a:pt x="2953" y="994"/>
                    </a:lnTo>
                    <a:lnTo>
                      <a:pt x="2960" y="1001"/>
                    </a:lnTo>
                    <a:lnTo>
                      <a:pt x="2949" y="1016"/>
                    </a:lnTo>
                    <a:lnTo>
                      <a:pt x="2922" y="1034"/>
                    </a:lnTo>
                    <a:lnTo>
                      <a:pt x="2899" y="1048"/>
                    </a:lnTo>
                    <a:lnTo>
                      <a:pt x="2863" y="1082"/>
                    </a:lnTo>
                    <a:lnTo>
                      <a:pt x="2843" y="1118"/>
                    </a:lnTo>
                    <a:lnTo>
                      <a:pt x="2837" y="1157"/>
                    </a:lnTo>
                    <a:lnTo>
                      <a:pt x="2840" y="1177"/>
                    </a:lnTo>
                    <a:lnTo>
                      <a:pt x="2844" y="1195"/>
                    </a:lnTo>
                    <a:lnTo>
                      <a:pt x="2841" y="1211"/>
                    </a:lnTo>
                    <a:lnTo>
                      <a:pt x="2835" y="1215"/>
                    </a:lnTo>
                    <a:lnTo>
                      <a:pt x="2821" y="1215"/>
                    </a:lnTo>
                    <a:lnTo>
                      <a:pt x="2794" y="1196"/>
                    </a:lnTo>
                    <a:lnTo>
                      <a:pt x="2777" y="1179"/>
                    </a:lnTo>
                    <a:lnTo>
                      <a:pt x="2761" y="1163"/>
                    </a:lnTo>
                    <a:lnTo>
                      <a:pt x="2723" y="1134"/>
                    </a:lnTo>
                    <a:lnTo>
                      <a:pt x="2709" y="1125"/>
                    </a:lnTo>
                    <a:lnTo>
                      <a:pt x="2701" y="1120"/>
                    </a:lnTo>
                    <a:lnTo>
                      <a:pt x="2689" y="1102"/>
                    </a:lnTo>
                    <a:lnTo>
                      <a:pt x="2676" y="1059"/>
                    </a:lnTo>
                    <a:lnTo>
                      <a:pt x="2670" y="1012"/>
                    </a:lnTo>
                    <a:lnTo>
                      <a:pt x="2664" y="917"/>
                    </a:lnTo>
                    <a:lnTo>
                      <a:pt x="2555" y="917"/>
                    </a:lnTo>
                    <a:lnTo>
                      <a:pt x="2447" y="917"/>
                    </a:lnTo>
                    <a:lnTo>
                      <a:pt x="2455" y="1029"/>
                    </a:lnTo>
                    <a:lnTo>
                      <a:pt x="2464" y="1124"/>
                    </a:lnTo>
                    <a:lnTo>
                      <a:pt x="2474" y="1175"/>
                    </a:lnTo>
                    <a:lnTo>
                      <a:pt x="2474" y="1181"/>
                    </a:lnTo>
                    <a:lnTo>
                      <a:pt x="2460" y="1200"/>
                    </a:lnTo>
                    <a:lnTo>
                      <a:pt x="2388" y="1252"/>
                    </a:lnTo>
                    <a:lnTo>
                      <a:pt x="2138" y="1400"/>
                    </a:lnTo>
                    <a:lnTo>
                      <a:pt x="1651" y="1676"/>
                    </a:lnTo>
                    <a:lnTo>
                      <a:pt x="1280" y="1884"/>
                    </a:lnTo>
                    <a:lnTo>
                      <a:pt x="797" y="2156"/>
                    </a:lnTo>
                    <a:lnTo>
                      <a:pt x="260" y="2463"/>
                    </a:lnTo>
                    <a:lnTo>
                      <a:pt x="63" y="2578"/>
                    </a:lnTo>
                    <a:lnTo>
                      <a:pt x="39" y="2595"/>
                    </a:lnTo>
                    <a:lnTo>
                      <a:pt x="0" y="2632"/>
                    </a:lnTo>
                    <a:lnTo>
                      <a:pt x="0" y="4130"/>
                    </a:lnTo>
                    <a:lnTo>
                      <a:pt x="1" y="4908"/>
                    </a:lnTo>
                    <a:lnTo>
                      <a:pt x="8" y="5480"/>
                    </a:lnTo>
                    <a:lnTo>
                      <a:pt x="14" y="5605"/>
                    </a:lnTo>
                    <a:lnTo>
                      <a:pt x="19" y="5642"/>
                    </a:lnTo>
                    <a:lnTo>
                      <a:pt x="22" y="5647"/>
                    </a:lnTo>
                    <a:lnTo>
                      <a:pt x="40" y="5654"/>
                    </a:lnTo>
                    <a:lnTo>
                      <a:pt x="160" y="5681"/>
                    </a:lnTo>
                    <a:lnTo>
                      <a:pt x="320" y="5711"/>
                    </a:lnTo>
                    <a:lnTo>
                      <a:pt x="456" y="5731"/>
                    </a:lnTo>
                    <a:lnTo>
                      <a:pt x="490" y="5734"/>
                    </a:lnTo>
                    <a:lnTo>
                      <a:pt x="495" y="5733"/>
                    </a:lnTo>
                    <a:lnTo>
                      <a:pt x="502" y="5713"/>
                    </a:lnTo>
                    <a:lnTo>
                      <a:pt x="510" y="5624"/>
                    </a:lnTo>
                    <a:lnTo>
                      <a:pt x="517" y="5080"/>
                    </a:lnTo>
                    <a:lnTo>
                      <a:pt x="517" y="4177"/>
                    </a:lnTo>
                    <a:lnTo>
                      <a:pt x="517" y="2620"/>
                    </a:lnTo>
                    <a:lnTo>
                      <a:pt x="645" y="2545"/>
                    </a:lnTo>
                    <a:lnTo>
                      <a:pt x="960" y="2368"/>
                    </a:lnTo>
                    <a:lnTo>
                      <a:pt x="1727" y="1935"/>
                    </a:lnTo>
                    <a:lnTo>
                      <a:pt x="2028" y="1766"/>
                    </a:lnTo>
                    <a:lnTo>
                      <a:pt x="2421" y="1548"/>
                    </a:lnTo>
                    <a:lnTo>
                      <a:pt x="2625" y="1442"/>
                    </a:lnTo>
                    <a:lnTo>
                      <a:pt x="2693" y="1417"/>
                    </a:lnTo>
                    <a:lnTo>
                      <a:pt x="2717" y="1415"/>
                    </a:lnTo>
                    <a:lnTo>
                      <a:pt x="2725" y="1417"/>
                    </a:lnTo>
                    <a:lnTo>
                      <a:pt x="2750" y="1425"/>
                    </a:lnTo>
                    <a:lnTo>
                      <a:pt x="2808" y="1433"/>
                    </a:lnTo>
                    <a:lnTo>
                      <a:pt x="2874" y="1430"/>
                    </a:lnTo>
                    <a:lnTo>
                      <a:pt x="2945" y="1417"/>
                    </a:lnTo>
                    <a:lnTo>
                      <a:pt x="2980" y="1407"/>
                    </a:lnTo>
                    <a:lnTo>
                      <a:pt x="3064" y="1380"/>
                    </a:lnTo>
                    <a:lnTo>
                      <a:pt x="4124" y="2110"/>
                    </a:lnTo>
                    <a:lnTo>
                      <a:pt x="4943" y="2677"/>
                    </a:lnTo>
                    <a:lnTo>
                      <a:pt x="5179" y="2844"/>
                    </a:lnTo>
                    <a:lnTo>
                      <a:pt x="4850" y="2786"/>
                    </a:lnTo>
                    <a:lnTo>
                      <a:pt x="3725" y="2582"/>
                    </a:lnTo>
                    <a:lnTo>
                      <a:pt x="3144" y="2477"/>
                    </a:lnTo>
                    <a:lnTo>
                      <a:pt x="2344" y="2337"/>
                    </a:lnTo>
                    <a:lnTo>
                      <a:pt x="2255" y="2325"/>
                    </a:lnTo>
                    <a:lnTo>
                      <a:pt x="2252" y="2329"/>
                    </a:lnTo>
                    <a:lnTo>
                      <a:pt x="2247" y="2370"/>
                    </a:lnTo>
                    <a:lnTo>
                      <a:pt x="2241" y="2515"/>
                    </a:lnTo>
                    <a:lnTo>
                      <a:pt x="2234" y="3202"/>
                    </a:lnTo>
                    <a:lnTo>
                      <a:pt x="2234" y="4149"/>
                    </a:lnTo>
                    <a:lnTo>
                      <a:pt x="2234" y="4894"/>
                    </a:lnTo>
                    <a:lnTo>
                      <a:pt x="2240" y="5676"/>
                    </a:lnTo>
                    <a:lnTo>
                      <a:pt x="2246" y="5947"/>
                    </a:lnTo>
                    <a:lnTo>
                      <a:pt x="2249" y="5974"/>
                    </a:lnTo>
                    <a:lnTo>
                      <a:pt x="2344" y="5961"/>
                    </a:lnTo>
                    <a:lnTo>
                      <a:pt x="3221" y="5808"/>
                    </a:lnTo>
                    <a:lnTo>
                      <a:pt x="3860" y="5692"/>
                    </a:lnTo>
                    <a:lnTo>
                      <a:pt x="5134" y="5460"/>
                    </a:lnTo>
                    <a:lnTo>
                      <a:pt x="5609" y="5374"/>
                    </a:lnTo>
                    <a:lnTo>
                      <a:pt x="5670" y="5362"/>
                    </a:lnTo>
                    <a:lnTo>
                      <a:pt x="5763" y="5338"/>
                    </a:lnTo>
                    <a:lnTo>
                      <a:pt x="5780" y="5330"/>
                    </a:lnTo>
                    <a:lnTo>
                      <a:pt x="5783" y="5326"/>
                    </a:lnTo>
                    <a:lnTo>
                      <a:pt x="5788" y="5296"/>
                    </a:lnTo>
                    <a:lnTo>
                      <a:pt x="5793" y="5196"/>
                    </a:lnTo>
                    <a:lnTo>
                      <a:pt x="5800" y="4747"/>
                    </a:lnTo>
                    <a:lnTo>
                      <a:pt x="5800" y="4142"/>
                    </a:lnTo>
                    <a:lnTo>
                      <a:pt x="5800" y="3449"/>
                    </a:lnTo>
                    <a:lnTo>
                      <a:pt x="5793" y="3038"/>
                    </a:lnTo>
                    <a:lnTo>
                      <a:pt x="5785" y="2966"/>
                    </a:lnTo>
                    <a:lnTo>
                      <a:pt x="5777" y="2943"/>
                    </a:lnTo>
                    <a:lnTo>
                      <a:pt x="5772" y="2937"/>
                    </a:lnTo>
                    <a:lnTo>
                      <a:pt x="5689" y="2875"/>
                    </a:lnTo>
                    <a:lnTo>
                      <a:pt x="4986" y="2383"/>
                    </a:lnTo>
                    <a:lnTo>
                      <a:pt x="4480" y="2034"/>
                    </a:lnTo>
                    <a:lnTo>
                      <a:pt x="4083" y="1760"/>
                    </a:lnTo>
                    <a:lnTo>
                      <a:pt x="3568" y="1402"/>
                    </a:lnTo>
                    <a:lnTo>
                      <a:pt x="3361" y="1253"/>
                    </a:lnTo>
                    <a:lnTo>
                      <a:pt x="3282" y="1192"/>
                    </a:lnTo>
                    <a:lnTo>
                      <a:pt x="3240" y="1154"/>
                    </a:lnTo>
                    <a:lnTo>
                      <a:pt x="3226" y="1132"/>
                    </a:lnTo>
                    <a:lnTo>
                      <a:pt x="3227" y="1125"/>
                    </a:lnTo>
                    <a:lnTo>
                      <a:pt x="3230" y="1113"/>
                    </a:lnTo>
                    <a:lnTo>
                      <a:pt x="3231" y="1085"/>
                    </a:lnTo>
                    <a:lnTo>
                      <a:pt x="3224" y="1039"/>
                    </a:lnTo>
                    <a:lnTo>
                      <a:pt x="3198" y="971"/>
                    </a:lnTo>
                    <a:lnTo>
                      <a:pt x="3158" y="906"/>
                    </a:lnTo>
                    <a:lnTo>
                      <a:pt x="3134" y="877"/>
                    </a:lnTo>
                    <a:lnTo>
                      <a:pt x="3097" y="837"/>
                    </a:lnTo>
                    <a:lnTo>
                      <a:pt x="3064" y="791"/>
                    </a:lnTo>
                    <a:lnTo>
                      <a:pt x="3053" y="766"/>
                    </a:lnTo>
                    <a:lnTo>
                      <a:pt x="3050" y="743"/>
                    </a:lnTo>
                    <a:lnTo>
                      <a:pt x="3057" y="722"/>
                    </a:lnTo>
                    <a:lnTo>
                      <a:pt x="3081" y="689"/>
                    </a:lnTo>
                    <a:lnTo>
                      <a:pt x="3110" y="662"/>
                    </a:lnTo>
                    <a:lnTo>
                      <a:pt x="3136" y="638"/>
                    </a:lnTo>
                    <a:lnTo>
                      <a:pt x="3176" y="586"/>
                    </a:lnTo>
                    <a:lnTo>
                      <a:pt x="3203" y="529"/>
                    </a:lnTo>
                    <a:lnTo>
                      <a:pt x="3216" y="468"/>
                    </a:lnTo>
                    <a:lnTo>
                      <a:pt x="3217" y="435"/>
                    </a:lnTo>
                    <a:lnTo>
                      <a:pt x="3215" y="408"/>
                    </a:lnTo>
                    <a:lnTo>
                      <a:pt x="3194" y="346"/>
                    </a:lnTo>
                    <a:lnTo>
                      <a:pt x="3158" y="284"/>
                    </a:lnTo>
                    <a:lnTo>
                      <a:pt x="3114" y="233"/>
                    </a:lnTo>
                    <a:lnTo>
                      <a:pt x="3090" y="217"/>
                    </a:lnTo>
                    <a:lnTo>
                      <a:pt x="3072" y="205"/>
                    </a:lnTo>
                    <a:lnTo>
                      <a:pt x="3048" y="185"/>
                    </a:lnTo>
                    <a:lnTo>
                      <a:pt x="3037" y="160"/>
                    </a:lnTo>
                    <a:lnTo>
                      <a:pt x="3034" y="120"/>
                    </a:lnTo>
                    <a:lnTo>
                      <a:pt x="3034" y="90"/>
                    </a:lnTo>
                    <a:lnTo>
                      <a:pt x="3034" y="0"/>
                    </a:lnTo>
                    <a:lnTo>
                      <a:pt x="2925" y="0"/>
                    </a:lnTo>
                    <a:lnTo>
                      <a:pt x="2817" y="0"/>
                    </a:lnTo>
                    <a:lnTo>
                      <a:pt x="2817" y="87"/>
                    </a:lnTo>
                    <a:close/>
                    <a:moveTo>
                      <a:pt x="2680" y="2752"/>
                    </a:moveTo>
                    <a:lnTo>
                      <a:pt x="2717" y="2767"/>
                    </a:lnTo>
                    <a:lnTo>
                      <a:pt x="2717" y="4184"/>
                    </a:lnTo>
                    <a:lnTo>
                      <a:pt x="2717" y="5602"/>
                    </a:lnTo>
                    <a:lnTo>
                      <a:pt x="2630" y="5597"/>
                    </a:lnTo>
                    <a:lnTo>
                      <a:pt x="2542" y="5592"/>
                    </a:lnTo>
                    <a:lnTo>
                      <a:pt x="2537" y="4154"/>
                    </a:lnTo>
                    <a:lnTo>
                      <a:pt x="2534" y="2714"/>
                    </a:lnTo>
                    <a:lnTo>
                      <a:pt x="2587" y="2725"/>
                    </a:lnTo>
                    <a:lnTo>
                      <a:pt x="2638" y="2738"/>
                    </a:lnTo>
                    <a:lnTo>
                      <a:pt x="2680" y="2752"/>
                    </a:lnTo>
                    <a:close/>
                    <a:moveTo>
                      <a:pt x="3214" y="4162"/>
                    </a:moveTo>
                    <a:lnTo>
                      <a:pt x="3217" y="5517"/>
                    </a:lnTo>
                    <a:lnTo>
                      <a:pt x="3134" y="5517"/>
                    </a:lnTo>
                    <a:lnTo>
                      <a:pt x="3050" y="5517"/>
                    </a:lnTo>
                    <a:lnTo>
                      <a:pt x="3050" y="4157"/>
                    </a:lnTo>
                    <a:lnTo>
                      <a:pt x="3050" y="2799"/>
                    </a:lnTo>
                    <a:lnTo>
                      <a:pt x="3130" y="2804"/>
                    </a:lnTo>
                    <a:lnTo>
                      <a:pt x="3209" y="2809"/>
                    </a:lnTo>
                    <a:lnTo>
                      <a:pt x="3214" y="4162"/>
                    </a:lnTo>
                    <a:close/>
                    <a:moveTo>
                      <a:pt x="3630" y="2877"/>
                    </a:moveTo>
                    <a:lnTo>
                      <a:pt x="3667" y="2887"/>
                    </a:lnTo>
                    <a:lnTo>
                      <a:pt x="3667" y="4170"/>
                    </a:lnTo>
                    <a:lnTo>
                      <a:pt x="3667" y="5452"/>
                    </a:lnTo>
                    <a:lnTo>
                      <a:pt x="3597" y="5447"/>
                    </a:lnTo>
                    <a:lnTo>
                      <a:pt x="3525" y="5442"/>
                    </a:lnTo>
                    <a:lnTo>
                      <a:pt x="3520" y="4154"/>
                    </a:lnTo>
                    <a:lnTo>
                      <a:pt x="3517" y="2867"/>
                    </a:lnTo>
                    <a:lnTo>
                      <a:pt x="3554" y="2867"/>
                    </a:lnTo>
                    <a:lnTo>
                      <a:pt x="3592" y="2869"/>
                    </a:lnTo>
                    <a:lnTo>
                      <a:pt x="3630" y="2877"/>
                    </a:lnTo>
                    <a:close/>
                    <a:moveTo>
                      <a:pt x="4055" y="2945"/>
                    </a:moveTo>
                    <a:lnTo>
                      <a:pt x="4058" y="2964"/>
                    </a:lnTo>
                    <a:lnTo>
                      <a:pt x="4062" y="3151"/>
                    </a:lnTo>
                    <a:lnTo>
                      <a:pt x="4066" y="3681"/>
                    </a:lnTo>
                    <a:lnTo>
                      <a:pt x="4067" y="4169"/>
                    </a:lnTo>
                    <a:lnTo>
                      <a:pt x="4067" y="5384"/>
                    </a:lnTo>
                    <a:lnTo>
                      <a:pt x="4000" y="5384"/>
                    </a:lnTo>
                    <a:lnTo>
                      <a:pt x="3934" y="5384"/>
                    </a:lnTo>
                    <a:lnTo>
                      <a:pt x="3934" y="4149"/>
                    </a:lnTo>
                    <a:lnTo>
                      <a:pt x="3934" y="2914"/>
                    </a:lnTo>
                    <a:lnTo>
                      <a:pt x="3989" y="2925"/>
                    </a:lnTo>
                    <a:lnTo>
                      <a:pt x="4032" y="2936"/>
                    </a:lnTo>
                    <a:lnTo>
                      <a:pt x="4055" y="2945"/>
                    </a:lnTo>
                    <a:close/>
                    <a:moveTo>
                      <a:pt x="4439" y="3012"/>
                    </a:moveTo>
                    <a:lnTo>
                      <a:pt x="4441" y="3029"/>
                    </a:lnTo>
                    <a:lnTo>
                      <a:pt x="4445" y="3207"/>
                    </a:lnTo>
                    <a:lnTo>
                      <a:pt x="4450" y="3708"/>
                    </a:lnTo>
                    <a:lnTo>
                      <a:pt x="4450" y="4169"/>
                    </a:lnTo>
                    <a:lnTo>
                      <a:pt x="4450" y="5317"/>
                    </a:lnTo>
                    <a:lnTo>
                      <a:pt x="4384" y="5317"/>
                    </a:lnTo>
                    <a:lnTo>
                      <a:pt x="4317" y="5317"/>
                    </a:lnTo>
                    <a:lnTo>
                      <a:pt x="4317" y="4149"/>
                    </a:lnTo>
                    <a:lnTo>
                      <a:pt x="4317" y="2980"/>
                    </a:lnTo>
                    <a:lnTo>
                      <a:pt x="4372" y="2992"/>
                    </a:lnTo>
                    <a:lnTo>
                      <a:pt x="4415" y="3003"/>
                    </a:lnTo>
                    <a:lnTo>
                      <a:pt x="4439" y="3012"/>
                    </a:lnTo>
                    <a:close/>
                    <a:moveTo>
                      <a:pt x="4757" y="3044"/>
                    </a:moveTo>
                    <a:lnTo>
                      <a:pt x="4761" y="3046"/>
                    </a:lnTo>
                    <a:lnTo>
                      <a:pt x="4768" y="3064"/>
                    </a:lnTo>
                    <a:lnTo>
                      <a:pt x="4776" y="3133"/>
                    </a:lnTo>
                    <a:lnTo>
                      <a:pt x="4783" y="3525"/>
                    </a:lnTo>
                    <a:lnTo>
                      <a:pt x="4784" y="4160"/>
                    </a:lnTo>
                    <a:lnTo>
                      <a:pt x="4784" y="5267"/>
                    </a:lnTo>
                    <a:lnTo>
                      <a:pt x="4734" y="5267"/>
                    </a:lnTo>
                    <a:lnTo>
                      <a:pt x="4684" y="5267"/>
                    </a:lnTo>
                    <a:lnTo>
                      <a:pt x="4684" y="4150"/>
                    </a:lnTo>
                    <a:lnTo>
                      <a:pt x="4684" y="3744"/>
                    </a:lnTo>
                    <a:lnTo>
                      <a:pt x="4686" y="3259"/>
                    </a:lnTo>
                    <a:lnTo>
                      <a:pt x="4695" y="3096"/>
                    </a:lnTo>
                    <a:lnTo>
                      <a:pt x="4706" y="3047"/>
                    </a:lnTo>
                    <a:lnTo>
                      <a:pt x="4717" y="3034"/>
                    </a:lnTo>
                    <a:lnTo>
                      <a:pt x="4727" y="3033"/>
                    </a:lnTo>
                    <a:lnTo>
                      <a:pt x="4743" y="3038"/>
                    </a:lnTo>
                    <a:lnTo>
                      <a:pt x="4757" y="3044"/>
                    </a:lnTo>
                    <a:close/>
                    <a:moveTo>
                      <a:pt x="5057" y="3094"/>
                    </a:moveTo>
                    <a:lnTo>
                      <a:pt x="5061" y="3096"/>
                    </a:lnTo>
                    <a:lnTo>
                      <a:pt x="5068" y="3114"/>
                    </a:lnTo>
                    <a:lnTo>
                      <a:pt x="5076" y="3180"/>
                    </a:lnTo>
                    <a:lnTo>
                      <a:pt x="5083" y="3554"/>
                    </a:lnTo>
                    <a:lnTo>
                      <a:pt x="5084" y="4160"/>
                    </a:lnTo>
                    <a:lnTo>
                      <a:pt x="5084" y="5217"/>
                    </a:lnTo>
                    <a:lnTo>
                      <a:pt x="5042" y="5217"/>
                    </a:lnTo>
                    <a:lnTo>
                      <a:pt x="5000" y="5217"/>
                    </a:lnTo>
                    <a:lnTo>
                      <a:pt x="5000" y="4150"/>
                    </a:lnTo>
                    <a:lnTo>
                      <a:pt x="5001" y="3699"/>
                    </a:lnTo>
                    <a:lnTo>
                      <a:pt x="5007" y="3248"/>
                    </a:lnTo>
                    <a:lnTo>
                      <a:pt x="5012" y="3097"/>
                    </a:lnTo>
                    <a:lnTo>
                      <a:pt x="5015" y="3084"/>
                    </a:lnTo>
                    <a:lnTo>
                      <a:pt x="5033" y="3086"/>
                    </a:lnTo>
                    <a:lnTo>
                      <a:pt x="5057" y="3094"/>
                    </a:lnTo>
                    <a:close/>
                    <a:moveTo>
                      <a:pt x="5369" y="4167"/>
                    </a:moveTo>
                    <a:lnTo>
                      <a:pt x="5368" y="4793"/>
                    </a:lnTo>
                    <a:lnTo>
                      <a:pt x="5361" y="5091"/>
                    </a:lnTo>
                    <a:lnTo>
                      <a:pt x="5356" y="5146"/>
                    </a:lnTo>
                    <a:lnTo>
                      <a:pt x="5349" y="5171"/>
                    </a:lnTo>
                    <a:lnTo>
                      <a:pt x="5340" y="5179"/>
                    </a:lnTo>
                    <a:lnTo>
                      <a:pt x="5334" y="5180"/>
                    </a:lnTo>
                    <a:lnTo>
                      <a:pt x="5328" y="5181"/>
                    </a:lnTo>
                    <a:lnTo>
                      <a:pt x="5318" y="5176"/>
                    </a:lnTo>
                    <a:lnTo>
                      <a:pt x="5311" y="5152"/>
                    </a:lnTo>
                    <a:lnTo>
                      <a:pt x="5306" y="5098"/>
                    </a:lnTo>
                    <a:lnTo>
                      <a:pt x="5300" y="4794"/>
                    </a:lnTo>
                    <a:lnTo>
                      <a:pt x="5300" y="4149"/>
                    </a:lnTo>
                    <a:lnTo>
                      <a:pt x="5300" y="3114"/>
                    </a:lnTo>
                    <a:lnTo>
                      <a:pt x="5334" y="3135"/>
                    </a:lnTo>
                    <a:lnTo>
                      <a:pt x="5340" y="3140"/>
                    </a:lnTo>
                    <a:lnTo>
                      <a:pt x="5349" y="3153"/>
                    </a:lnTo>
                    <a:lnTo>
                      <a:pt x="5357" y="3183"/>
                    </a:lnTo>
                    <a:lnTo>
                      <a:pt x="5362" y="3242"/>
                    </a:lnTo>
                    <a:lnTo>
                      <a:pt x="5367" y="3400"/>
                    </a:lnTo>
                    <a:lnTo>
                      <a:pt x="5369" y="3825"/>
                    </a:lnTo>
                    <a:lnTo>
                      <a:pt x="5369" y="4167"/>
                    </a:lnTo>
                    <a:close/>
                    <a:moveTo>
                      <a:pt x="5634" y="4150"/>
                    </a:moveTo>
                    <a:lnTo>
                      <a:pt x="5634" y="4759"/>
                    </a:lnTo>
                    <a:lnTo>
                      <a:pt x="5628" y="5049"/>
                    </a:lnTo>
                    <a:lnTo>
                      <a:pt x="5623" y="5103"/>
                    </a:lnTo>
                    <a:lnTo>
                      <a:pt x="5616" y="5127"/>
                    </a:lnTo>
                    <a:lnTo>
                      <a:pt x="5606" y="5134"/>
                    </a:lnTo>
                    <a:lnTo>
                      <a:pt x="5600" y="5134"/>
                    </a:lnTo>
                    <a:lnTo>
                      <a:pt x="5594" y="5134"/>
                    </a:lnTo>
                    <a:lnTo>
                      <a:pt x="5585" y="5127"/>
                    </a:lnTo>
                    <a:lnTo>
                      <a:pt x="5578" y="5103"/>
                    </a:lnTo>
                    <a:lnTo>
                      <a:pt x="5573" y="5049"/>
                    </a:lnTo>
                    <a:lnTo>
                      <a:pt x="5567" y="4759"/>
                    </a:lnTo>
                    <a:lnTo>
                      <a:pt x="5567" y="4150"/>
                    </a:lnTo>
                    <a:lnTo>
                      <a:pt x="5567" y="3542"/>
                    </a:lnTo>
                    <a:lnTo>
                      <a:pt x="5573" y="3251"/>
                    </a:lnTo>
                    <a:lnTo>
                      <a:pt x="5578" y="3198"/>
                    </a:lnTo>
                    <a:lnTo>
                      <a:pt x="5585" y="3174"/>
                    </a:lnTo>
                    <a:lnTo>
                      <a:pt x="5594" y="3167"/>
                    </a:lnTo>
                    <a:lnTo>
                      <a:pt x="5600" y="3167"/>
                    </a:lnTo>
                    <a:lnTo>
                      <a:pt x="5606" y="3167"/>
                    </a:lnTo>
                    <a:lnTo>
                      <a:pt x="5616" y="3174"/>
                    </a:lnTo>
                    <a:lnTo>
                      <a:pt x="5623" y="3198"/>
                    </a:lnTo>
                    <a:lnTo>
                      <a:pt x="5628" y="3251"/>
                    </a:lnTo>
                    <a:lnTo>
                      <a:pt x="5634" y="3542"/>
                    </a:lnTo>
                    <a:lnTo>
                      <a:pt x="5634" y="415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aramond" panose="020204040303010108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3266" y="2755"/>
                <a:ext cx="68" cy="386"/>
              </a:xfrm>
              <a:custGeom>
                <a:avLst/>
                <a:gdLst>
                  <a:gd name="T0" fmla="*/ 297 w 647"/>
                  <a:gd name="T1" fmla="*/ 47 h 3682"/>
                  <a:gd name="T2" fmla="*/ 0 w 647"/>
                  <a:gd name="T3" fmla="*/ 98 h 3682"/>
                  <a:gd name="T4" fmla="*/ 0 w 647"/>
                  <a:gd name="T5" fmla="*/ 1843 h 3682"/>
                  <a:gd name="T6" fmla="*/ 0 w 647"/>
                  <a:gd name="T7" fmla="*/ 3587 h 3682"/>
                  <a:gd name="T8" fmla="*/ 312 w 647"/>
                  <a:gd name="T9" fmla="*/ 3640 h 3682"/>
                  <a:gd name="T10" fmla="*/ 436 w 647"/>
                  <a:gd name="T11" fmla="*/ 3661 h 3682"/>
                  <a:gd name="T12" fmla="*/ 576 w 647"/>
                  <a:gd name="T13" fmla="*/ 3679 h 3682"/>
                  <a:gd name="T14" fmla="*/ 629 w 647"/>
                  <a:gd name="T15" fmla="*/ 3682 h 3682"/>
                  <a:gd name="T16" fmla="*/ 637 w 647"/>
                  <a:gd name="T17" fmla="*/ 3680 h 3682"/>
                  <a:gd name="T18" fmla="*/ 639 w 647"/>
                  <a:gd name="T19" fmla="*/ 3652 h 3682"/>
                  <a:gd name="T20" fmla="*/ 643 w 647"/>
                  <a:gd name="T21" fmla="*/ 3368 h 3682"/>
                  <a:gd name="T22" fmla="*/ 647 w 647"/>
                  <a:gd name="T23" fmla="*/ 2568 h 3682"/>
                  <a:gd name="T24" fmla="*/ 647 w 647"/>
                  <a:gd name="T25" fmla="*/ 1835 h 3682"/>
                  <a:gd name="T26" fmla="*/ 643 w 647"/>
                  <a:gd name="T27" fmla="*/ 798 h 3682"/>
                  <a:gd name="T28" fmla="*/ 635 w 647"/>
                  <a:gd name="T29" fmla="*/ 145 h 3682"/>
                  <a:gd name="T30" fmla="*/ 627 w 647"/>
                  <a:gd name="T31" fmla="*/ 30 h 3682"/>
                  <a:gd name="T32" fmla="*/ 621 w 647"/>
                  <a:gd name="T33" fmla="*/ 2 h 3682"/>
                  <a:gd name="T34" fmla="*/ 617 w 647"/>
                  <a:gd name="T35" fmla="*/ 0 h 3682"/>
                  <a:gd name="T36" fmla="*/ 590 w 647"/>
                  <a:gd name="T37" fmla="*/ 2 h 3682"/>
                  <a:gd name="T38" fmla="*/ 416 w 647"/>
                  <a:gd name="T39" fmla="*/ 27 h 3682"/>
                  <a:gd name="T40" fmla="*/ 297 w 647"/>
                  <a:gd name="T41" fmla="*/ 47 h 3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7" h="3682">
                    <a:moveTo>
                      <a:pt x="297" y="47"/>
                    </a:moveTo>
                    <a:lnTo>
                      <a:pt x="0" y="98"/>
                    </a:lnTo>
                    <a:lnTo>
                      <a:pt x="0" y="1843"/>
                    </a:lnTo>
                    <a:lnTo>
                      <a:pt x="0" y="3587"/>
                    </a:lnTo>
                    <a:lnTo>
                      <a:pt x="312" y="3640"/>
                    </a:lnTo>
                    <a:lnTo>
                      <a:pt x="436" y="3661"/>
                    </a:lnTo>
                    <a:lnTo>
                      <a:pt x="576" y="3679"/>
                    </a:lnTo>
                    <a:lnTo>
                      <a:pt x="629" y="3682"/>
                    </a:lnTo>
                    <a:lnTo>
                      <a:pt x="637" y="3680"/>
                    </a:lnTo>
                    <a:lnTo>
                      <a:pt x="639" y="3652"/>
                    </a:lnTo>
                    <a:lnTo>
                      <a:pt x="643" y="3368"/>
                    </a:lnTo>
                    <a:lnTo>
                      <a:pt x="647" y="2568"/>
                    </a:lnTo>
                    <a:lnTo>
                      <a:pt x="647" y="1835"/>
                    </a:lnTo>
                    <a:lnTo>
                      <a:pt x="643" y="798"/>
                    </a:lnTo>
                    <a:lnTo>
                      <a:pt x="635" y="145"/>
                    </a:lnTo>
                    <a:lnTo>
                      <a:pt x="627" y="30"/>
                    </a:lnTo>
                    <a:lnTo>
                      <a:pt x="621" y="2"/>
                    </a:lnTo>
                    <a:lnTo>
                      <a:pt x="617" y="0"/>
                    </a:lnTo>
                    <a:lnTo>
                      <a:pt x="590" y="2"/>
                    </a:lnTo>
                    <a:lnTo>
                      <a:pt x="416" y="27"/>
                    </a:lnTo>
                    <a:lnTo>
                      <a:pt x="297" y="47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aramond" panose="020204040303010108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3192" y="2768"/>
                <a:ext cx="55" cy="360"/>
              </a:xfrm>
              <a:custGeom>
                <a:avLst/>
                <a:gdLst>
                  <a:gd name="T0" fmla="*/ 250 w 525"/>
                  <a:gd name="T1" fmla="*/ 47 h 3430"/>
                  <a:gd name="T2" fmla="*/ 0 w 525"/>
                  <a:gd name="T3" fmla="*/ 90 h 3430"/>
                  <a:gd name="T4" fmla="*/ 0 w 525"/>
                  <a:gd name="T5" fmla="*/ 1714 h 3430"/>
                  <a:gd name="T6" fmla="*/ 0 w 525"/>
                  <a:gd name="T7" fmla="*/ 3339 h 3430"/>
                  <a:gd name="T8" fmla="*/ 216 w 525"/>
                  <a:gd name="T9" fmla="*/ 3375 h 3430"/>
                  <a:gd name="T10" fmla="*/ 395 w 525"/>
                  <a:gd name="T11" fmla="*/ 3407 h 3430"/>
                  <a:gd name="T12" fmla="*/ 480 w 525"/>
                  <a:gd name="T13" fmla="*/ 3422 h 3430"/>
                  <a:gd name="T14" fmla="*/ 525 w 525"/>
                  <a:gd name="T15" fmla="*/ 3430 h 3430"/>
                  <a:gd name="T16" fmla="*/ 525 w 525"/>
                  <a:gd name="T17" fmla="*/ 1715 h 3430"/>
                  <a:gd name="T18" fmla="*/ 524 w 525"/>
                  <a:gd name="T19" fmla="*/ 1028 h 3430"/>
                  <a:gd name="T20" fmla="*/ 520 w 525"/>
                  <a:gd name="T21" fmla="*/ 284 h 3430"/>
                  <a:gd name="T22" fmla="*/ 515 w 525"/>
                  <a:gd name="T23" fmla="*/ 24 h 3430"/>
                  <a:gd name="T24" fmla="*/ 513 w 525"/>
                  <a:gd name="T25" fmla="*/ 0 h 3430"/>
                  <a:gd name="T26" fmla="*/ 446 w 525"/>
                  <a:gd name="T27" fmla="*/ 12 h 3430"/>
                  <a:gd name="T28" fmla="*/ 250 w 525"/>
                  <a:gd name="T29" fmla="*/ 47 h 3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25" h="3430">
                    <a:moveTo>
                      <a:pt x="250" y="47"/>
                    </a:moveTo>
                    <a:lnTo>
                      <a:pt x="0" y="90"/>
                    </a:lnTo>
                    <a:lnTo>
                      <a:pt x="0" y="1714"/>
                    </a:lnTo>
                    <a:lnTo>
                      <a:pt x="0" y="3339"/>
                    </a:lnTo>
                    <a:lnTo>
                      <a:pt x="216" y="3375"/>
                    </a:lnTo>
                    <a:lnTo>
                      <a:pt x="395" y="3407"/>
                    </a:lnTo>
                    <a:lnTo>
                      <a:pt x="480" y="3422"/>
                    </a:lnTo>
                    <a:lnTo>
                      <a:pt x="525" y="3430"/>
                    </a:lnTo>
                    <a:lnTo>
                      <a:pt x="525" y="1715"/>
                    </a:lnTo>
                    <a:lnTo>
                      <a:pt x="524" y="1028"/>
                    </a:lnTo>
                    <a:lnTo>
                      <a:pt x="520" y="284"/>
                    </a:lnTo>
                    <a:lnTo>
                      <a:pt x="515" y="24"/>
                    </a:lnTo>
                    <a:lnTo>
                      <a:pt x="513" y="0"/>
                    </a:lnTo>
                    <a:lnTo>
                      <a:pt x="446" y="12"/>
                    </a:lnTo>
                    <a:lnTo>
                      <a:pt x="250" y="47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aramond" panose="02020404030301010803" pitchFamily="18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3" name="Freeform 32"/>
            <p:cNvSpPr/>
            <p:nvPr/>
          </p:nvSpPr>
          <p:spPr>
            <a:xfrm>
              <a:off x="5461000" y="4178976"/>
              <a:ext cx="432594" cy="285868"/>
            </a:xfrm>
            <a:custGeom>
              <a:avLst/>
              <a:gdLst>
                <a:gd name="connsiteX0" fmla="*/ 364332 w 452438"/>
                <a:gd name="connsiteY0" fmla="*/ 290512 h 297656"/>
                <a:gd name="connsiteX1" fmla="*/ 452438 w 452438"/>
                <a:gd name="connsiteY1" fmla="*/ 297656 h 297656"/>
                <a:gd name="connsiteX2" fmla="*/ 16669 w 452438"/>
                <a:gd name="connsiteY2" fmla="*/ 0 h 297656"/>
                <a:gd name="connsiteX3" fmla="*/ 0 w 452438"/>
                <a:gd name="connsiteY3" fmla="*/ 33337 h 297656"/>
                <a:gd name="connsiteX4" fmla="*/ 364332 w 452438"/>
                <a:gd name="connsiteY4" fmla="*/ 290512 h 297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2438" h="297656">
                  <a:moveTo>
                    <a:pt x="364332" y="290512"/>
                  </a:moveTo>
                  <a:lnTo>
                    <a:pt x="452438" y="297656"/>
                  </a:lnTo>
                  <a:lnTo>
                    <a:pt x="16669" y="0"/>
                  </a:lnTo>
                  <a:lnTo>
                    <a:pt x="0" y="33337"/>
                  </a:lnTo>
                  <a:lnTo>
                    <a:pt x="364332" y="290512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>
              <a:off x="4945856" y="4183856"/>
              <a:ext cx="445294" cy="242888"/>
            </a:xfrm>
            <a:custGeom>
              <a:avLst/>
              <a:gdLst>
                <a:gd name="connsiteX0" fmla="*/ 0 w 445294"/>
                <a:gd name="connsiteY0" fmla="*/ 242888 h 242888"/>
                <a:gd name="connsiteX1" fmla="*/ 92869 w 445294"/>
                <a:gd name="connsiteY1" fmla="*/ 242888 h 242888"/>
                <a:gd name="connsiteX2" fmla="*/ 445294 w 445294"/>
                <a:gd name="connsiteY2" fmla="*/ 38100 h 242888"/>
                <a:gd name="connsiteX3" fmla="*/ 416719 w 445294"/>
                <a:gd name="connsiteY3" fmla="*/ 0 h 242888"/>
                <a:gd name="connsiteX4" fmla="*/ 0 w 445294"/>
                <a:gd name="connsiteY4" fmla="*/ 242888 h 242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294" h="242888">
                  <a:moveTo>
                    <a:pt x="0" y="242888"/>
                  </a:moveTo>
                  <a:lnTo>
                    <a:pt x="92869" y="242888"/>
                  </a:lnTo>
                  <a:lnTo>
                    <a:pt x="445294" y="38100"/>
                  </a:lnTo>
                  <a:lnTo>
                    <a:pt x="416719" y="0"/>
                  </a:lnTo>
                  <a:lnTo>
                    <a:pt x="0" y="2428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40" name="Freeform 39"/>
            <p:cNvSpPr/>
            <p:nvPr/>
          </p:nvSpPr>
          <p:spPr>
            <a:xfrm>
              <a:off x="5350318" y="3981686"/>
              <a:ext cx="157854" cy="240506"/>
            </a:xfrm>
            <a:custGeom>
              <a:avLst/>
              <a:gdLst>
                <a:gd name="connsiteX0" fmla="*/ 59532 w 133350"/>
                <a:gd name="connsiteY0" fmla="*/ 0 h 240506"/>
                <a:gd name="connsiteX1" fmla="*/ 28575 w 133350"/>
                <a:gd name="connsiteY1" fmla="*/ 66675 h 240506"/>
                <a:gd name="connsiteX2" fmla="*/ 47625 w 133350"/>
                <a:gd name="connsiteY2" fmla="*/ 116681 h 240506"/>
                <a:gd name="connsiteX3" fmla="*/ 59532 w 133350"/>
                <a:gd name="connsiteY3" fmla="*/ 135731 h 240506"/>
                <a:gd name="connsiteX4" fmla="*/ 71438 w 133350"/>
                <a:gd name="connsiteY4" fmla="*/ 166687 h 240506"/>
                <a:gd name="connsiteX5" fmla="*/ 64294 w 133350"/>
                <a:gd name="connsiteY5" fmla="*/ 180975 h 240506"/>
                <a:gd name="connsiteX6" fmla="*/ 64294 w 133350"/>
                <a:gd name="connsiteY6" fmla="*/ 180975 h 240506"/>
                <a:gd name="connsiteX7" fmla="*/ 42863 w 133350"/>
                <a:gd name="connsiteY7" fmla="*/ 192881 h 240506"/>
                <a:gd name="connsiteX8" fmla="*/ 35719 w 133350"/>
                <a:gd name="connsiteY8" fmla="*/ 157162 h 240506"/>
                <a:gd name="connsiteX9" fmla="*/ 2382 w 133350"/>
                <a:gd name="connsiteY9" fmla="*/ 152400 h 240506"/>
                <a:gd name="connsiteX10" fmla="*/ 0 w 133350"/>
                <a:gd name="connsiteY10" fmla="*/ 190500 h 240506"/>
                <a:gd name="connsiteX11" fmla="*/ 19050 w 133350"/>
                <a:gd name="connsiteY11" fmla="*/ 223837 h 240506"/>
                <a:gd name="connsiteX12" fmla="*/ 38100 w 133350"/>
                <a:gd name="connsiteY12" fmla="*/ 240506 h 240506"/>
                <a:gd name="connsiteX13" fmla="*/ 80963 w 133350"/>
                <a:gd name="connsiteY13" fmla="*/ 240506 h 240506"/>
                <a:gd name="connsiteX14" fmla="*/ 102394 w 133350"/>
                <a:gd name="connsiteY14" fmla="*/ 228600 h 240506"/>
                <a:gd name="connsiteX15" fmla="*/ 130969 w 133350"/>
                <a:gd name="connsiteY15" fmla="*/ 183356 h 240506"/>
                <a:gd name="connsiteX16" fmla="*/ 116682 w 133350"/>
                <a:gd name="connsiteY16" fmla="*/ 142875 h 240506"/>
                <a:gd name="connsiteX17" fmla="*/ 95250 w 133350"/>
                <a:gd name="connsiteY17" fmla="*/ 123825 h 240506"/>
                <a:gd name="connsiteX18" fmla="*/ 116682 w 133350"/>
                <a:gd name="connsiteY18" fmla="*/ 97631 h 240506"/>
                <a:gd name="connsiteX19" fmla="*/ 133350 w 133350"/>
                <a:gd name="connsiteY19" fmla="*/ 69056 h 240506"/>
                <a:gd name="connsiteX20" fmla="*/ 111919 w 133350"/>
                <a:gd name="connsiteY20" fmla="*/ 42862 h 240506"/>
                <a:gd name="connsiteX21" fmla="*/ 59532 w 133350"/>
                <a:gd name="connsiteY21" fmla="*/ 0 h 240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33350" h="240506">
                  <a:moveTo>
                    <a:pt x="59532" y="0"/>
                  </a:moveTo>
                  <a:lnTo>
                    <a:pt x="28575" y="66675"/>
                  </a:lnTo>
                  <a:lnTo>
                    <a:pt x="47625" y="116681"/>
                  </a:lnTo>
                  <a:lnTo>
                    <a:pt x="59532" y="135731"/>
                  </a:lnTo>
                  <a:lnTo>
                    <a:pt x="71438" y="166687"/>
                  </a:lnTo>
                  <a:lnTo>
                    <a:pt x="64294" y="180975"/>
                  </a:lnTo>
                  <a:lnTo>
                    <a:pt x="64294" y="180975"/>
                  </a:lnTo>
                  <a:lnTo>
                    <a:pt x="42863" y="192881"/>
                  </a:lnTo>
                  <a:lnTo>
                    <a:pt x="35719" y="157162"/>
                  </a:lnTo>
                  <a:lnTo>
                    <a:pt x="2382" y="152400"/>
                  </a:lnTo>
                  <a:lnTo>
                    <a:pt x="0" y="190500"/>
                  </a:lnTo>
                  <a:lnTo>
                    <a:pt x="19050" y="223837"/>
                  </a:lnTo>
                  <a:lnTo>
                    <a:pt x="38100" y="240506"/>
                  </a:lnTo>
                  <a:lnTo>
                    <a:pt x="80963" y="240506"/>
                  </a:lnTo>
                  <a:lnTo>
                    <a:pt x="102394" y="228600"/>
                  </a:lnTo>
                  <a:lnTo>
                    <a:pt x="130969" y="183356"/>
                  </a:lnTo>
                  <a:lnTo>
                    <a:pt x="116682" y="142875"/>
                  </a:lnTo>
                  <a:lnTo>
                    <a:pt x="95250" y="123825"/>
                  </a:lnTo>
                  <a:lnTo>
                    <a:pt x="116682" y="97631"/>
                  </a:lnTo>
                  <a:lnTo>
                    <a:pt x="133350" y="69056"/>
                  </a:lnTo>
                  <a:lnTo>
                    <a:pt x="111919" y="42862"/>
                  </a:lnTo>
                  <a:lnTo>
                    <a:pt x="59532" y="0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42" name="Group 18"/>
          <p:cNvGrpSpPr>
            <a:grpSpLocks noChangeAspect="1"/>
          </p:cNvGrpSpPr>
          <p:nvPr/>
        </p:nvGrpSpPr>
        <p:grpSpPr bwMode="auto">
          <a:xfrm>
            <a:off x="5488880" y="2345027"/>
            <a:ext cx="945137" cy="944570"/>
            <a:chOff x="3789" y="471"/>
            <a:chExt cx="1668" cy="1667"/>
          </a:xfrm>
        </p:grpSpPr>
        <p:sp>
          <p:nvSpPr>
            <p:cNvPr id="43" name="AutoShape 17"/>
            <p:cNvSpPr>
              <a:spLocks noChangeAspect="1" noChangeArrowheads="1" noTextEdit="1"/>
            </p:cNvSpPr>
            <p:nvPr/>
          </p:nvSpPr>
          <p:spPr bwMode="auto">
            <a:xfrm>
              <a:off x="3789" y="471"/>
              <a:ext cx="1668" cy="1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44" name="Freeform 19"/>
            <p:cNvSpPr>
              <a:spLocks noEditPoints="1"/>
            </p:cNvSpPr>
            <p:nvPr/>
          </p:nvSpPr>
          <p:spPr bwMode="auto">
            <a:xfrm>
              <a:off x="3793" y="1018"/>
              <a:ext cx="1644" cy="596"/>
            </a:xfrm>
            <a:custGeom>
              <a:avLst/>
              <a:gdLst>
                <a:gd name="T0" fmla="*/ 430 w 3306"/>
                <a:gd name="T1" fmla="*/ 43 h 1199"/>
                <a:gd name="T2" fmla="*/ 319 w 3306"/>
                <a:gd name="T3" fmla="*/ 62 h 1199"/>
                <a:gd name="T4" fmla="*/ 147 w 3306"/>
                <a:gd name="T5" fmla="*/ 87 h 1199"/>
                <a:gd name="T6" fmla="*/ 126 w 3306"/>
                <a:gd name="T7" fmla="*/ 167 h 1199"/>
                <a:gd name="T8" fmla="*/ 175 w 3306"/>
                <a:gd name="T9" fmla="*/ 218 h 1199"/>
                <a:gd name="T10" fmla="*/ 172 w 3306"/>
                <a:gd name="T11" fmla="*/ 725 h 1199"/>
                <a:gd name="T12" fmla="*/ 0 w 3306"/>
                <a:gd name="T13" fmla="*/ 708 h 1199"/>
                <a:gd name="T14" fmla="*/ 89 w 3306"/>
                <a:gd name="T15" fmla="*/ 1175 h 1199"/>
                <a:gd name="T16" fmla="*/ 1542 w 3306"/>
                <a:gd name="T17" fmla="*/ 1198 h 1199"/>
                <a:gd name="T18" fmla="*/ 2946 w 3306"/>
                <a:gd name="T19" fmla="*/ 1179 h 1199"/>
                <a:gd name="T20" fmla="*/ 3120 w 3306"/>
                <a:gd name="T21" fmla="*/ 1083 h 1199"/>
                <a:gd name="T22" fmla="*/ 3283 w 3306"/>
                <a:gd name="T23" fmla="*/ 852 h 1199"/>
                <a:gd name="T24" fmla="*/ 3304 w 3306"/>
                <a:gd name="T25" fmla="*/ 751 h 1199"/>
                <a:gd name="T26" fmla="*/ 3225 w 3306"/>
                <a:gd name="T27" fmla="*/ 720 h 1199"/>
                <a:gd name="T28" fmla="*/ 3019 w 3306"/>
                <a:gd name="T29" fmla="*/ 728 h 1199"/>
                <a:gd name="T30" fmla="*/ 2920 w 3306"/>
                <a:gd name="T31" fmla="*/ 780 h 1199"/>
                <a:gd name="T32" fmla="*/ 2709 w 3306"/>
                <a:gd name="T33" fmla="*/ 733 h 1199"/>
                <a:gd name="T34" fmla="*/ 2518 w 3306"/>
                <a:gd name="T35" fmla="*/ 856 h 1199"/>
                <a:gd name="T36" fmla="*/ 2500 w 3306"/>
                <a:gd name="T37" fmla="*/ 856 h 1199"/>
                <a:gd name="T38" fmla="*/ 2309 w 3306"/>
                <a:gd name="T39" fmla="*/ 733 h 1199"/>
                <a:gd name="T40" fmla="*/ 2118 w 3306"/>
                <a:gd name="T41" fmla="*/ 856 h 1199"/>
                <a:gd name="T42" fmla="*/ 2100 w 3306"/>
                <a:gd name="T43" fmla="*/ 856 h 1199"/>
                <a:gd name="T44" fmla="*/ 1909 w 3306"/>
                <a:gd name="T45" fmla="*/ 733 h 1199"/>
                <a:gd name="T46" fmla="*/ 1718 w 3306"/>
                <a:gd name="T47" fmla="*/ 856 h 1199"/>
                <a:gd name="T48" fmla="*/ 1700 w 3306"/>
                <a:gd name="T49" fmla="*/ 856 h 1199"/>
                <a:gd name="T50" fmla="*/ 1509 w 3306"/>
                <a:gd name="T51" fmla="*/ 733 h 1199"/>
                <a:gd name="T52" fmla="*/ 1318 w 3306"/>
                <a:gd name="T53" fmla="*/ 856 h 1199"/>
                <a:gd name="T54" fmla="*/ 1300 w 3306"/>
                <a:gd name="T55" fmla="*/ 856 h 1199"/>
                <a:gd name="T56" fmla="*/ 1077 w 3306"/>
                <a:gd name="T57" fmla="*/ 733 h 1199"/>
                <a:gd name="T58" fmla="*/ 856 w 3306"/>
                <a:gd name="T59" fmla="*/ 758 h 1199"/>
                <a:gd name="T60" fmla="*/ 843 w 3306"/>
                <a:gd name="T61" fmla="*/ 761 h 1199"/>
                <a:gd name="T62" fmla="*/ 800 w 3306"/>
                <a:gd name="T63" fmla="*/ 733 h 1199"/>
                <a:gd name="T64" fmla="*/ 757 w 3306"/>
                <a:gd name="T65" fmla="*/ 385 h 1199"/>
                <a:gd name="T66" fmla="*/ 718 w 3306"/>
                <a:gd name="T67" fmla="*/ 333 h 1199"/>
                <a:gd name="T68" fmla="*/ 692 w 3306"/>
                <a:gd name="T69" fmla="*/ 300 h 1199"/>
                <a:gd name="T70" fmla="*/ 718 w 3306"/>
                <a:gd name="T71" fmla="*/ 267 h 1199"/>
                <a:gd name="T72" fmla="*/ 759 w 3306"/>
                <a:gd name="T73" fmla="*/ 252 h 1199"/>
                <a:gd name="T74" fmla="*/ 822 w 3306"/>
                <a:gd name="T75" fmla="*/ 214 h 1199"/>
                <a:gd name="T76" fmla="*/ 859 w 3306"/>
                <a:gd name="T77" fmla="*/ 160 h 1199"/>
                <a:gd name="T78" fmla="*/ 829 w 3306"/>
                <a:gd name="T79" fmla="*/ 90 h 1199"/>
                <a:gd name="T80" fmla="*/ 649 w 3306"/>
                <a:gd name="T81" fmla="*/ 67 h 1199"/>
                <a:gd name="T82" fmla="*/ 492 w 3306"/>
                <a:gd name="T83" fmla="*/ 50 h 1199"/>
                <a:gd name="T84" fmla="*/ 559 w 3306"/>
                <a:gd name="T85" fmla="*/ 33 h 1199"/>
                <a:gd name="T86" fmla="*/ 625 w 3306"/>
                <a:gd name="T87" fmla="*/ 17 h 1199"/>
                <a:gd name="T88" fmla="*/ 509 w 3306"/>
                <a:gd name="T89" fmla="*/ 0 h 1199"/>
                <a:gd name="T90" fmla="*/ 392 w 3306"/>
                <a:gd name="T91" fmla="*/ 15 h 1199"/>
                <a:gd name="T92" fmla="*/ 526 w 3306"/>
                <a:gd name="T93" fmla="*/ 331 h 1199"/>
                <a:gd name="T94" fmla="*/ 358 w 3306"/>
                <a:gd name="T95" fmla="*/ 331 h 1199"/>
                <a:gd name="T96" fmla="*/ 326 w 3306"/>
                <a:gd name="T97" fmla="*/ 290 h 1199"/>
                <a:gd name="T98" fmla="*/ 442 w 3306"/>
                <a:gd name="T99" fmla="*/ 267 h 1199"/>
                <a:gd name="T100" fmla="*/ 558 w 3306"/>
                <a:gd name="T101" fmla="*/ 290 h 1199"/>
                <a:gd name="T102" fmla="*/ 654 w 3306"/>
                <a:gd name="T103" fmla="*/ 320 h 1199"/>
                <a:gd name="T104" fmla="*/ 618 w 3306"/>
                <a:gd name="T105" fmla="*/ 333 h 1199"/>
                <a:gd name="T106" fmla="*/ 592 w 3306"/>
                <a:gd name="T107" fmla="*/ 300 h 1199"/>
                <a:gd name="T108" fmla="*/ 618 w 3306"/>
                <a:gd name="T109" fmla="*/ 267 h 1199"/>
                <a:gd name="T110" fmla="*/ 654 w 3306"/>
                <a:gd name="T111" fmla="*/ 280 h 1199"/>
                <a:gd name="T112" fmla="*/ 2799 w 3306"/>
                <a:gd name="T113" fmla="*/ 921 h 1199"/>
                <a:gd name="T114" fmla="*/ 1502 w 3306"/>
                <a:gd name="T115" fmla="*/ 933 h 1199"/>
                <a:gd name="T116" fmla="*/ 1018 w 3306"/>
                <a:gd name="T117" fmla="*/ 912 h 1199"/>
                <a:gd name="T118" fmla="*/ 2315 w 3306"/>
                <a:gd name="T119" fmla="*/ 901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06" h="1199">
                  <a:moveTo>
                    <a:pt x="392" y="15"/>
                  </a:moveTo>
                  <a:lnTo>
                    <a:pt x="394" y="22"/>
                  </a:lnTo>
                  <a:lnTo>
                    <a:pt x="415" y="37"/>
                  </a:lnTo>
                  <a:lnTo>
                    <a:pt x="430" y="43"/>
                  </a:lnTo>
                  <a:lnTo>
                    <a:pt x="438" y="46"/>
                  </a:lnTo>
                  <a:lnTo>
                    <a:pt x="434" y="52"/>
                  </a:lnTo>
                  <a:lnTo>
                    <a:pt x="387" y="59"/>
                  </a:lnTo>
                  <a:lnTo>
                    <a:pt x="319" y="62"/>
                  </a:lnTo>
                  <a:lnTo>
                    <a:pt x="257" y="65"/>
                  </a:lnTo>
                  <a:lnTo>
                    <a:pt x="184" y="75"/>
                  </a:lnTo>
                  <a:lnTo>
                    <a:pt x="153" y="83"/>
                  </a:lnTo>
                  <a:lnTo>
                    <a:pt x="147" y="87"/>
                  </a:lnTo>
                  <a:lnTo>
                    <a:pt x="138" y="97"/>
                  </a:lnTo>
                  <a:lnTo>
                    <a:pt x="127" y="133"/>
                  </a:lnTo>
                  <a:lnTo>
                    <a:pt x="125" y="153"/>
                  </a:lnTo>
                  <a:lnTo>
                    <a:pt x="126" y="167"/>
                  </a:lnTo>
                  <a:lnTo>
                    <a:pt x="130" y="187"/>
                  </a:lnTo>
                  <a:lnTo>
                    <a:pt x="142" y="202"/>
                  </a:lnTo>
                  <a:lnTo>
                    <a:pt x="161" y="213"/>
                  </a:lnTo>
                  <a:lnTo>
                    <a:pt x="175" y="218"/>
                  </a:lnTo>
                  <a:lnTo>
                    <a:pt x="225" y="237"/>
                  </a:lnTo>
                  <a:lnTo>
                    <a:pt x="225" y="487"/>
                  </a:lnTo>
                  <a:lnTo>
                    <a:pt x="225" y="737"/>
                  </a:lnTo>
                  <a:lnTo>
                    <a:pt x="172" y="725"/>
                  </a:lnTo>
                  <a:lnTo>
                    <a:pt x="147" y="719"/>
                  </a:lnTo>
                  <a:lnTo>
                    <a:pt x="85" y="712"/>
                  </a:lnTo>
                  <a:lnTo>
                    <a:pt x="59" y="710"/>
                  </a:lnTo>
                  <a:lnTo>
                    <a:pt x="0" y="708"/>
                  </a:lnTo>
                  <a:lnTo>
                    <a:pt x="0" y="925"/>
                  </a:lnTo>
                  <a:lnTo>
                    <a:pt x="0" y="1140"/>
                  </a:lnTo>
                  <a:lnTo>
                    <a:pt x="75" y="1170"/>
                  </a:lnTo>
                  <a:lnTo>
                    <a:pt x="89" y="1175"/>
                  </a:lnTo>
                  <a:lnTo>
                    <a:pt x="126" y="1182"/>
                  </a:lnTo>
                  <a:lnTo>
                    <a:pt x="226" y="1190"/>
                  </a:lnTo>
                  <a:lnTo>
                    <a:pt x="729" y="1198"/>
                  </a:lnTo>
                  <a:lnTo>
                    <a:pt x="1542" y="1198"/>
                  </a:lnTo>
                  <a:lnTo>
                    <a:pt x="2082" y="1199"/>
                  </a:lnTo>
                  <a:lnTo>
                    <a:pt x="2590" y="1197"/>
                  </a:lnTo>
                  <a:lnTo>
                    <a:pt x="2807" y="1191"/>
                  </a:lnTo>
                  <a:lnTo>
                    <a:pt x="2946" y="1179"/>
                  </a:lnTo>
                  <a:lnTo>
                    <a:pt x="3011" y="1163"/>
                  </a:lnTo>
                  <a:lnTo>
                    <a:pt x="3043" y="1151"/>
                  </a:lnTo>
                  <a:lnTo>
                    <a:pt x="3079" y="1126"/>
                  </a:lnTo>
                  <a:lnTo>
                    <a:pt x="3120" y="1083"/>
                  </a:lnTo>
                  <a:lnTo>
                    <a:pt x="3145" y="1055"/>
                  </a:lnTo>
                  <a:lnTo>
                    <a:pt x="3178" y="1017"/>
                  </a:lnTo>
                  <a:lnTo>
                    <a:pt x="3238" y="934"/>
                  </a:lnTo>
                  <a:lnTo>
                    <a:pt x="3283" y="852"/>
                  </a:lnTo>
                  <a:lnTo>
                    <a:pt x="3302" y="800"/>
                  </a:lnTo>
                  <a:lnTo>
                    <a:pt x="3306" y="772"/>
                  </a:lnTo>
                  <a:lnTo>
                    <a:pt x="3305" y="762"/>
                  </a:lnTo>
                  <a:lnTo>
                    <a:pt x="3304" y="751"/>
                  </a:lnTo>
                  <a:lnTo>
                    <a:pt x="3295" y="736"/>
                  </a:lnTo>
                  <a:lnTo>
                    <a:pt x="3277" y="727"/>
                  </a:lnTo>
                  <a:lnTo>
                    <a:pt x="3247" y="721"/>
                  </a:lnTo>
                  <a:lnTo>
                    <a:pt x="3225" y="720"/>
                  </a:lnTo>
                  <a:lnTo>
                    <a:pt x="3189" y="718"/>
                  </a:lnTo>
                  <a:lnTo>
                    <a:pt x="3094" y="721"/>
                  </a:lnTo>
                  <a:lnTo>
                    <a:pt x="3049" y="725"/>
                  </a:lnTo>
                  <a:lnTo>
                    <a:pt x="3019" y="728"/>
                  </a:lnTo>
                  <a:lnTo>
                    <a:pt x="2976" y="736"/>
                  </a:lnTo>
                  <a:lnTo>
                    <a:pt x="2948" y="748"/>
                  </a:lnTo>
                  <a:lnTo>
                    <a:pt x="2929" y="767"/>
                  </a:lnTo>
                  <a:lnTo>
                    <a:pt x="2920" y="780"/>
                  </a:lnTo>
                  <a:lnTo>
                    <a:pt x="2894" y="825"/>
                  </a:lnTo>
                  <a:lnTo>
                    <a:pt x="2892" y="778"/>
                  </a:lnTo>
                  <a:lnTo>
                    <a:pt x="2892" y="733"/>
                  </a:lnTo>
                  <a:lnTo>
                    <a:pt x="2709" y="733"/>
                  </a:lnTo>
                  <a:lnTo>
                    <a:pt x="2525" y="733"/>
                  </a:lnTo>
                  <a:lnTo>
                    <a:pt x="2525" y="800"/>
                  </a:lnTo>
                  <a:lnTo>
                    <a:pt x="2524" y="827"/>
                  </a:lnTo>
                  <a:lnTo>
                    <a:pt x="2518" y="856"/>
                  </a:lnTo>
                  <a:lnTo>
                    <a:pt x="2512" y="866"/>
                  </a:lnTo>
                  <a:lnTo>
                    <a:pt x="2509" y="867"/>
                  </a:lnTo>
                  <a:lnTo>
                    <a:pt x="2506" y="866"/>
                  </a:lnTo>
                  <a:lnTo>
                    <a:pt x="2500" y="856"/>
                  </a:lnTo>
                  <a:lnTo>
                    <a:pt x="2493" y="827"/>
                  </a:lnTo>
                  <a:lnTo>
                    <a:pt x="2492" y="800"/>
                  </a:lnTo>
                  <a:lnTo>
                    <a:pt x="2492" y="733"/>
                  </a:lnTo>
                  <a:lnTo>
                    <a:pt x="2309" y="733"/>
                  </a:lnTo>
                  <a:lnTo>
                    <a:pt x="2125" y="733"/>
                  </a:lnTo>
                  <a:lnTo>
                    <a:pt x="2125" y="800"/>
                  </a:lnTo>
                  <a:lnTo>
                    <a:pt x="2124" y="827"/>
                  </a:lnTo>
                  <a:lnTo>
                    <a:pt x="2118" y="856"/>
                  </a:lnTo>
                  <a:lnTo>
                    <a:pt x="2112" y="866"/>
                  </a:lnTo>
                  <a:lnTo>
                    <a:pt x="2109" y="867"/>
                  </a:lnTo>
                  <a:lnTo>
                    <a:pt x="2106" y="866"/>
                  </a:lnTo>
                  <a:lnTo>
                    <a:pt x="2100" y="856"/>
                  </a:lnTo>
                  <a:lnTo>
                    <a:pt x="2093" y="827"/>
                  </a:lnTo>
                  <a:lnTo>
                    <a:pt x="2092" y="800"/>
                  </a:lnTo>
                  <a:lnTo>
                    <a:pt x="2092" y="733"/>
                  </a:lnTo>
                  <a:lnTo>
                    <a:pt x="1909" y="733"/>
                  </a:lnTo>
                  <a:lnTo>
                    <a:pt x="1725" y="733"/>
                  </a:lnTo>
                  <a:lnTo>
                    <a:pt x="1725" y="800"/>
                  </a:lnTo>
                  <a:lnTo>
                    <a:pt x="1724" y="827"/>
                  </a:lnTo>
                  <a:lnTo>
                    <a:pt x="1718" y="856"/>
                  </a:lnTo>
                  <a:lnTo>
                    <a:pt x="1712" y="866"/>
                  </a:lnTo>
                  <a:lnTo>
                    <a:pt x="1709" y="867"/>
                  </a:lnTo>
                  <a:lnTo>
                    <a:pt x="1706" y="866"/>
                  </a:lnTo>
                  <a:lnTo>
                    <a:pt x="1700" y="856"/>
                  </a:lnTo>
                  <a:lnTo>
                    <a:pt x="1693" y="827"/>
                  </a:lnTo>
                  <a:lnTo>
                    <a:pt x="1692" y="800"/>
                  </a:lnTo>
                  <a:lnTo>
                    <a:pt x="1692" y="733"/>
                  </a:lnTo>
                  <a:lnTo>
                    <a:pt x="1509" y="733"/>
                  </a:lnTo>
                  <a:lnTo>
                    <a:pt x="1325" y="733"/>
                  </a:lnTo>
                  <a:lnTo>
                    <a:pt x="1325" y="800"/>
                  </a:lnTo>
                  <a:lnTo>
                    <a:pt x="1324" y="827"/>
                  </a:lnTo>
                  <a:lnTo>
                    <a:pt x="1318" y="856"/>
                  </a:lnTo>
                  <a:lnTo>
                    <a:pt x="1312" y="866"/>
                  </a:lnTo>
                  <a:lnTo>
                    <a:pt x="1309" y="867"/>
                  </a:lnTo>
                  <a:lnTo>
                    <a:pt x="1306" y="866"/>
                  </a:lnTo>
                  <a:lnTo>
                    <a:pt x="1300" y="856"/>
                  </a:lnTo>
                  <a:lnTo>
                    <a:pt x="1293" y="827"/>
                  </a:lnTo>
                  <a:lnTo>
                    <a:pt x="1292" y="800"/>
                  </a:lnTo>
                  <a:lnTo>
                    <a:pt x="1292" y="733"/>
                  </a:lnTo>
                  <a:lnTo>
                    <a:pt x="1077" y="733"/>
                  </a:lnTo>
                  <a:lnTo>
                    <a:pt x="1005" y="733"/>
                  </a:lnTo>
                  <a:lnTo>
                    <a:pt x="914" y="735"/>
                  </a:lnTo>
                  <a:lnTo>
                    <a:pt x="871" y="743"/>
                  </a:lnTo>
                  <a:lnTo>
                    <a:pt x="856" y="758"/>
                  </a:lnTo>
                  <a:lnTo>
                    <a:pt x="854" y="770"/>
                  </a:lnTo>
                  <a:lnTo>
                    <a:pt x="847" y="808"/>
                  </a:lnTo>
                  <a:lnTo>
                    <a:pt x="844" y="770"/>
                  </a:lnTo>
                  <a:lnTo>
                    <a:pt x="843" y="761"/>
                  </a:lnTo>
                  <a:lnTo>
                    <a:pt x="838" y="746"/>
                  </a:lnTo>
                  <a:lnTo>
                    <a:pt x="828" y="738"/>
                  </a:lnTo>
                  <a:lnTo>
                    <a:pt x="812" y="734"/>
                  </a:lnTo>
                  <a:lnTo>
                    <a:pt x="800" y="733"/>
                  </a:lnTo>
                  <a:lnTo>
                    <a:pt x="759" y="733"/>
                  </a:lnTo>
                  <a:lnTo>
                    <a:pt x="759" y="533"/>
                  </a:lnTo>
                  <a:lnTo>
                    <a:pt x="759" y="468"/>
                  </a:lnTo>
                  <a:lnTo>
                    <a:pt x="757" y="385"/>
                  </a:lnTo>
                  <a:lnTo>
                    <a:pt x="750" y="346"/>
                  </a:lnTo>
                  <a:lnTo>
                    <a:pt x="736" y="334"/>
                  </a:lnTo>
                  <a:lnTo>
                    <a:pt x="725" y="333"/>
                  </a:lnTo>
                  <a:lnTo>
                    <a:pt x="718" y="333"/>
                  </a:lnTo>
                  <a:lnTo>
                    <a:pt x="705" y="329"/>
                  </a:lnTo>
                  <a:lnTo>
                    <a:pt x="697" y="320"/>
                  </a:lnTo>
                  <a:lnTo>
                    <a:pt x="692" y="308"/>
                  </a:lnTo>
                  <a:lnTo>
                    <a:pt x="692" y="300"/>
                  </a:lnTo>
                  <a:lnTo>
                    <a:pt x="692" y="292"/>
                  </a:lnTo>
                  <a:lnTo>
                    <a:pt x="697" y="280"/>
                  </a:lnTo>
                  <a:lnTo>
                    <a:pt x="705" y="271"/>
                  </a:lnTo>
                  <a:lnTo>
                    <a:pt x="718" y="267"/>
                  </a:lnTo>
                  <a:lnTo>
                    <a:pt x="725" y="267"/>
                  </a:lnTo>
                  <a:lnTo>
                    <a:pt x="739" y="266"/>
                  </a:lnTo>
                  <a:lnTo>
                    <a:pt x="757" y="258"/>
                  </a:lnTo>
                  <a:lnTo>
                    <a:pt x="759" y="252"/>
                  </a:lnTo>
                  <a:lnTo>
                    <a:pt x="762" y="245"/>
                  </a:lnTo>
                  <a:lnTo>
                    <a:pt x="789" y="226"/>
                  </a:lnTo>
                  <a:lnTo>
                    <a:pt x="809" y="218"/>
                  </a:lnTo>
                  <a:lnTo>
                    <a:pt x="822" y="214"/>
                  </a:lnTo>
                  <a:lnTo>
                    <a:pt x="841" y="203"/>
                  </a:lnTo>
                  <a:lnTo>
                    <a:pt x="853" y="189"/>
                  </a:lnTo>
                  <a:lnTo>
                    <a:pt x="858" y="171"/>
                  </a:lnTo>
                  <a:lnTo>
                    <a:pt x="859" y="160"/>
                  </a:lnTo>
                  <a:lnTo>
                    <a:pt x="858" y="146"/>
                  </a:lnTo>
                  <a:lnTo>
                    <a:pt x="854" y="123"/>
                  </a:lnTo>
                  <a:lnTo>
                    <a:pt x="845" y="104"/>
                  </a:lnTo>
                  <a:lnTo>
                    <a:pt x="829" y="90"/>
                  </a:lnTo>
                  <a:lnTo>
                    <a:pt x="806" y="80"/>
                  </a:lnTo>
                  <a:lnTo>
                    <a:pt x="774" y="73"/>
                  </a:lnTo>
                  <a:lnTo>
                    <a:pt x="709" y="67"/>
                  </a:lnTo>
                  <a:lnTo>
                    <a:pt x="649" y="67"/>
                  </a:lnTo>
                  <a:lnTo>
                    <a:pt x="582" y="66"/>
                  </a:lnTo>
                  <a:lnTo>
                    <a:pt x="516" y="60"/>
                  </a:lnTo>
                  <a:lnTo>
                    <a:pt x="494" y="54"/>
                  </a:lnTo>
                  <a:lnTo>
                    <a:pt x="492" y="50"/>
                  </a:lnTo>
                  <a:lnTo>
                    <a:pt x="493" y="46"/>
                  </a:lnTo>
                  <a:lnTo>
                    <a:pt x="503" y="40"/>
                  </a:lnTo>
                  <a:lnTo>
                    <a:pt x="532" y="34"/>
                  </a:lnTo>
                  <a:lnTo>
                    <a:pt x="559" y="33"/>
                  </a:lnTo>
                  <a:lnTo>
                    <a:pt x="585" y="32"/>
                  </a:lnTo>
                  <a:lnTo>
                    <a:pt x="614" y="26"/>
                  </a:lnTo>
                  <a:lnTo>
                    <a:pt x="624" y="20"/>
                  </a:lnTo>
                  <a:lnTo>
                    <a:pt x="625" y="17"/>
                  </a:lnTo>
                  <a:lnTo>
                    <a:pt x="624" y="13"/>
                  </a:lnTo>
                  <a:lnTo>
                    <a:pt x="607" y="7"/>
                  </a:lnTo>
                  <a:lnTo>
                    <a:pt x="557" y="1"/>
                  </a:lnTo>
                  <a:lnTo>
                    <a:pt x="509" y="0"/>
                  </a:lnTo>
                  <a:lnTo>
                    <a:pt x="462" y="1"/>
                  </a:lnTo>
                  <a:lnTo>
                    <a:pt x="412" y="7"/>
                  </a:lnTo>
                  <a:lnTo>
                    <a:pt x="394" y="12"/>
                  </a:lnTo>
                  <a:lnTo>
                    <a:pt x="392" y="15"/>
                  </a:lnTo>
                  <a:close/>
                  <a:moveTo>
                    <a:pt x="559" y="300"/>
                  </a:moveTo>
                  <a:lnTo>
                    <a:pt x="558" y="310"/>
                  </a:lnTo>
                  <a:lnTo>
                    <a:pt x="550" y="324"/>
                  </a:lnTo>
                  <a:lnTo>
                    <a:pt x="526" y="331"/>
                  </a:lnTo>
                  <a:lnTo>
                    <a:pt x="478" y="333"/>
                  </a:lnTo>
                  <a:lnTo>
                    <a:pt x="442" y="333"/>
                  </a:lnTo>
                  <a:lnTo>
                    <a:pt x="406" y="333"/>
                  </a:lnTo>
                  <a:lnTo>
                    <a:pt x="358" y="331"/>
                  </a:lnTo>
                  <a:lnTo>
                    <a:pt x="334" y="324"/>
                  </a:lnTo>
                  <a:lnTo>
                    <a:pt x="326" y="310"/>
                  </a:lnTo>
                  <a:lnTo>
                    <a:pt x="325" y="300"/>
                  </a:lnTo>
                  <a:lnTo>
                    <a:pt x="326" y="290"/>
                  </a:lnTo>
                  <a:lnTo>
                    <a:pt x="334" y="276"/>
                  </a:lnTo>
                  <a:lnTo>
                    <a:pt x="358" y="269"/>
                  </a:lnTo>
                  <a:lnTo>
                    <a:pt x="406" y="267"/>
                  </a:lnTo>
                  <a:lnTo>
                    <a:pt x="442" y="267"/>
                  </a:lnTo>
                  <a:lnTo>
                    <a:pt x="478" y="267"/>
                  </a:lnTo>
                  <a:lnTo>
                    <a:pt x="526" y="269"/>
                  </a:lnTo>
                  <a:lnTo>
                    <a:pt x="550" y="276"/>
                  </a:lnTo>
                  <a:lnTo>
                    <a:pt x="558" y="290"/>
                  </a:lnTo>
                  <a:lnTo>
                    <a:pt x="559" y="300"/>
                  </a:lnTo>
                  <a:close/>
                  <a:moveTo>
                    <a:pt x="659" y="300"/>
                  </a:moveTo>
                  <a:lnTo>
                    <a:pt x="658" y="308"/>
                  </a:lnTo>
                  <a:lnTo>
                    <a:pt x="654" y="320"/>
                  </a:lnTo>
                  <a:lnTo>
                    <a:pt x="646" y="329"/>
                  </a:lnTo>
                  <a:lnTo>
                    <a:pt x="633" y="333"/>
                  </a:lnTo>
                  <a:lnTo>
                    <a:pt x="625" y="333"/>
                  </a:lnTo>
                  <a:lnTo>
                    <a:pt x="618" y="333"/>
                  </a:lnTo>
                  <a:lnTo>
                    <a:pt x="605" y="329"/>
                  </a:lnTo>
                  <a:lnTo>
                    <a:pt x="597" y="320"/>
                  </a:lnTo>
                  <a:lnTo>
                    <a:pt x="592" y="308"/>
                  </a:lnTo>
                  <a:lnTo>
                    <a:pt x="592" y="300"/>
                  </a:lnTo>
                  <a:lnTo>
                    <a:pt x="592" y="292"/>
                  </a:lnTo>
                  <a:lnTo>
                    <a:pt x="597" y="280"/>
                  </a:lnTo>
                  <a:lnTo>
                    <a:pt x="605" y="271"/>
                  </a:lnTo>
                  <a:lnTo>
                    <a:pt x="618" y="267"/>
                  </a:lnTo>
                  <a:lnTo>
                    <a:pt x="625" y="267"/>
                  </a:lnTo>
                  <a:lnTo>
                    <a:pt x="633" y="267"/>
                  </a:lnTo>
                  <a:lnTo>
                    <a:pt x="646" y="271"/>
                  </a:lnTo>
                  <a:lnTo>
                    <a:pt x="654" y="280"/>
                  </a:lnTo>
                  <a:lnTo>
                    <a:pt x="658" y="292"/>
                  </a:lnTo>
                  <a:lnTo>
                    <a:pt x="659" y="300"/>
                  </a:lnTo>
                  <a:close/>
                  <a:moveTo>
                    <a:pt x="2809" y="917"/>
                  </a:moveTo>
                  <a:lnTo>
                    <a:pt x="2799" y="921"/>
                  </a:lnTo>
                  <a:lnTo>
                    <a:pt x="2684" y="927"/>
                  </a:lnTo>
                  <a:lnTo>
                    <a:pt x="2315" y="933"/>
                  </a:lnTo>
                  <a:lnTo>
                    <a:pt x="1909" y="933"/>
                  </a:lnTo>
                  <a:lnTo>
                    <a:pt x="1502" y="933"/>
                  </a:lnTo>
                  <a:lnTo>
                    <a:pt x="1134" y="927"/>
                  </a:lnTo>
                  <a:lnTo>
                    <a:pt x="1018" y="921"/>
                  </a:lnTo>
                  <a:lnTo>
                    <a:pt x="1009" y="917"/>
                  </a:lnTo>
                  <a:lnTo>
                    <a:pt x="1018" y="912"/>
                  </a:lnTo>
                  <a:lnTo>
                    <a:pt x="1134" y="906"/>
                  </a:lnTo>
                  <a:lnTo>
                    <a:pt x="1502" y="901"/>
                  </a:lnTo>
                  <a:lnTo>
                    <a:pt x="1909" y="900"/>
                  </a:lnTo>
                  <a:lnTo>
                    <a:pt x="2315" y="901"/>
                  </a:lnTo>
                  <a:lnTo>
                    <a:pt x="2684" y="906"/>
                  </a:lnTo>
                  <a:lnTo>
                    <a:pt x="2799" y="912"/>
                  </a:lnTo>
                  <a:lnTo>
                    <a:pt x="2809" y="917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45" name="Freeform 20"/>
            <p:cNvSpPr>
              <a:spLocks/>
            </p:cNvSpPr>
            <p:nvPr/>
          </p:nvSpPr>
          <p:spPr bwMode="auto">
            <a:xfrm>
              <a:off x="4220" y="1167"/>
              <a:ext cx="216" cy="99"/>
            </a:xfrm>
            <a:custGeom>
              <a:avLst/>
              <a:gdLst>
                <a:gd name="T0" fmla="*/ 0 w 433"/>
                <a:gd name="T1" fmla="*/ 100 h 200"/>
                <a:gd name="T2" fmla="*/ 0 w 433"/>
                <a:gd name="T3" fmla="*/ 200 h 200"/>
                <a:gd name="T4" fmla="*/ 216 w 433"/>
                <a:gd name="T5" fmla="*/ 200 h 200"/>
                <a:gd name="T6" fmla="*/ 433 w 433"/>
                <a:gd name="T7" fmla="*/ 200 h 200"/>
                <a:gd name="T8" fmla="*/ 433 w 433"/>
                <a:gd name="T9" fmla="*/ 100 h 200"/>
                <a:gd name="T10" fmla="*/ 433 w 433"/>
                <a:gd name="T11" fmla="*/ 0 h 200"/>
                <a:gd name="T12" fmla="*/ 216 w 433"/>
                <a:gd name="T13" fmla="*/ 0 h 200"/>
                <a:gd name="T14" fmla="*/ 0 w 433"/>
                <a:gd name="T15" fmla="*/ 0 h 200"/>
                <a:gd name="T16" fmla="*/ 0 w 433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3" h="200">
                  <a:moveTo>
                    <a:pt x="0" y="100"/>
                  </a:moveTo>
                  <a:lnTo>
                    <a:pt x="0" y="200"/>
                  </a:lnTo>
                  <a:lnTo>
                    <a:pt x="216" y="200"/>
                  </a:lnTo>
                  <a:lnTo>
                    <a:pt x="433" y="200"/>
                  </a:lnTo>
                  <a:lnTo>
                    <a:pt x="433" y="100"/>
                  </a:lnTo>
                  <a:lnTo>
                    <a:pt x="433" y="0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46" name="Freeform 21"/>
            <p:cNvSpPr>
              <a:spLocks/>
            </p:cNvSpPr>
            <p:nvPr/>
          </p:nvSpPr>
          <p:spPr bwMode="auto">
            <a:xfrm>
              <a:off x="4452" y="1167"/>
              <a:ext cx="182" cy="99"/>
            </a:xfrm>
            <a:custGeom>
              <a:avLst/>
              <a:gdLst>
                <a:gd name="T0" fmla="*/ 0 w 367"/>
                <a:gd name="T1" fmla="*/ 100 h 200"/>
                <a:gd name="T2" fmla="*/ 0 w 367"/>
                <a:gd name="T3" fmla="*/ 200 h 200"/>
                <a:gd name="T4" fmla="*/ 184 w 367"/>
                <a:gd name="T5" fmla="*/ 200 h 200"/>
                <a:gd name="T6" fmla="*/ 367 w 367"/>
                <a:gd name="T7" fmla="*/ 200 h 200"/>
                <a:gd name="T8" fmla="*/ 367 w 367"/>
                <a:gd name="T9" fmla="*/ 100 h 200"/>
                <a:gd name="T10" fmla="*/ 367 w 367"/>
                <a:gd name="T11" fmla="*/ 0 h 200"/>
                <a:gd name="T12" fmla="*/ 184 w 367"/>
                <a:gd name="T13" fmla="*/ 0 h 200"/>
                <a:gd name="T14" fmla="*/ 0 w 367"/>
                <a:gd name="T15" fmla="*/ 0 h 200"/>
                <a:gd name="T16" fmla="*/ 0 w 367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200">
                  <a:moveTo>
                    <a:pt x="0" y="100"/>
                  </a:moveTo>
                  <a:lnTo>
                    <a:pt x="0" y="200"/>
                  </a:lnTo>
                  <a:lnTo>
                    <a:pt x="184" y="200"/>
                  </a:lnTo>
                  <a:lnTo>
                    <a:pt x="367" y="200"/>
                  </a:lnTo>
                  <a:lnTo>
                    <a:pt x="367" y="100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47" name="Freeform 22"/>
            <p:cNvSpPr>
              <a:spLocks/>
            </p:cNvSpPr>
            <p:nvPr/>
          </p:nvSpPr>
          <p:spPr bwMode="auto">
            <a:xfrm>
              <a:off x="4651" y="1167"/>
              <a:ext cx="182" cy="99"/>
            </a:xfrm>
            <a:custGeom>
              <a:avLst/>
              <a:gdLst>
                <a:gd name="T0" fmla="*/ 0 w 367"/>
                <a:gd name="T1" fmla="*/ 100 h 200"/>
                <a:gd name="T2" fmla="*/ 0 w 367"/>
                <a:gd name="T3" fmla="*/ 200 h 200"/>
                <a:gd name="T4" fmla="*/ 184 w 367"/>
                <a:gd name="T5" fmla="*/ 200 h 200"/>
                <a:gd name="T6" fmla="*/ 367 w 367"/>
                <a:gd name="T7" fmla="*/ 200 h 200"/>
                <a:gd name="T8" fmla="*/ 367 w 367"/>
                <a:gd name="T9" fmla="*/ 100 h 200"/>
                <a:gd name="T10" fmla="*/ 367 w 367"/>
                <a:gd name="T11" fmla="*/ 0 h 200"/>
                <a:gd name="T12" fmla="*/ 184 w 367"/>
                <a:gd name="T13" fmla="*/ 0 h 200"/>
                <a:gd name="T14" fmla="*/ 0 w 367"/>
                <a:gd name="T15" fmla="*/ 0 h 200"/>
                <a:gd name="T16" fmla="*/ 0 w 367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200">
                  <a:moveTo>
                    <a:pt x="0" y="100"/>
                  </a:moveTo>
                  <a:lnTo>
                    <a:pt x="0" y="200"/>
                  </a:lnTo>
                  <a:lnTo>
                    <a:pt x="184" y="200"/>
                  </a:lnTo>
                  <a:lnTo>
                    <a:pt x="367" y="200"/>
                  </a:lnTo>
                  <a:lnTo>
                    <a:pt x="367" y="100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48" name="Freeform 23"/>
            <p:cNvSpPr>
              <a:spLocks/>
            </p:cNvSpPr>
            <p:nvPr/>
          </p:nvSpPr>
          <p:spPr bwMode="auto">
            <a:xfrm>
              <a:off x="4850" y="1167"/>
              <a:ext cx="191" cy="99"/>
            </a:xfrm>
            <a:custGeom>
              <a:avLst/>
              <a:gdLst>
                <a:gd name="T0" fmla="*/ 0 w 384"/>
                <a:gd name="T1" fmla="*/ 100 h 200"/>
                <a:gd name="T2" fmla="*/ 0 w 384"/>
                <a:gd name="T3" fmla="*/ 200 h 200"/>
                <a:gd name="T4" fmla="*/ 192 w 384"/>
                <a:gd name="T5" fmla="*/ 200 h 200"/>
                <a:gd name="T6" fmla="*/ 384 w 384"/>
                <a:gd name="T7" fmla="*/ 200 h 200"/>
                <a:gd name="T8" fmla="*/ 384 w 384"/>
                <a:gd name="T9" fmla="*/ 100 h 200"/>
                <a:gd name="T10" fmla="*/ 384 w 384"/>
                <a:gd name="T11" fmla="*/ 0 h 200"/>
                <a:gd name="T12" fmla="*/ 192 w 384"/>
                <a:gd name="T13" fmla="*/ 0 h 200"/>
                <a:gd name="T14" fmla="*/ 0 w 384"/>
                <a:gd name="T15" fmla="*/ 0 h 200"/>
                <a:gd name="T16" fmla="*/ 0 w 384"/>
                <a:gd name="T17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4" h="200">
                  <a:moveTo>
                    <a:pt x="0" y="100"/>
                  </a:moveTo>
                  <a:lnTo>
                    <a:pt x="0" y="200"/>
                  </a:lnTo>
                  <a:lnTo>
                    <a:pt x="192" y="200"/>
                  </a:lnTo>
                  <a:lnTo>
                    <a:pt x="384" y="200"/>
                  </a:lnTo>
                  <a:lnTo>
                    <a:pt x="384" y="100"/>
                  </a:lnTo>
                  <a:lnTo>
                    <a:pt x="384" y="0"/>
                  </a:lnTo>
                  <a:lnTo>
                    <a:pt x="192" y="0"/>
                  </a:lnTo>
                  <a:lnTo>
                    <a:pt x="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49" name="Freeform 24"/>
            <p:cNvSpPr>
              <a:spLocks/>
            </p:cNvSpPr>
            <p:nvPr/>
          </p:nvSpPr>
          <p:spPr bwMode="auto">
            <a:xfrm>
              <a:off x="4220" y="1283"/>
              <a:ext cx="216" cy="83"/>
            </a:xfrm>
            <a:custGeom>
              <a:avLst/>
              <a:gdLst>
                <a:gd name="T0" fmla="*/ 0 w 433"/>
                <a:gd name="T1" fmla="*/ 84 h 167"/>
                <a:gd name="T2" fmla="*/ 0 w 433"/>
                <a:gd name="T3" fmla="*/ 167 h 167"/>
                <a:gd name="T4" fmla="*/ 216 w 433"/>
                <a:gd name="T5" fmla="*/ 167 h 167"/>
                <a:gd name="T6" fmla="*/ 433 w 433"/>
                <a:gd name="T7" fmla="*/ 167 h 167"/>
                <a:gd name="T8" fmla="*/ 433 w 433"/>
                <a:gd name="T9" fmla="*/ 84 h 167"/>
                <a:gd name="T10" fmla="*/ 433 w 433"/>
                <a:gd name="T11" fmla="*/ 0 h 167"/>
                <a:gd name="T12" fmla="*/ 216 w 433"/>
                <a:gd name="T13" fmla="*/ 0 h 167"/>
                <a:gd name="T14" fmla="*/ 0 w 433"/>
                <a:gd name="T15" fmla="*/ 0 h 167"/>
                <a:gd name="T16" fmla="*/ 0 w 433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3" h="167">
                  <a:moveTo>
                    <a:pt x="0" y="84"/>
                  </a:moveTo>
                  <a:lnTo>
                    <a:pt x="0" y="167"/>
                  </a:lnTo>
                  <a:lnTo>
                    <a:pt x="216" y="167"/>
                  </a:lnTo>
                  <a:lnTo>
                    <a:pt x="433" y="167"/>
                  </a:lnTo>
                  <a:lnTo>
                    <a:pt x="433" y="84"/>
                  </a:lnTo>
                  <a:lnTo>
                    <a:pt x="433" y="0"/>
                  </a:lnTo>
                  <a:lnTo>
                    <a:pt x="216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50" name="Freeform 25"/>
            <p:cNvSpPr>
              <a:spLocks/>
            </p:cNvSpPr>
            <p:nvPr/>
          </p:nvSpPr>
          <p:spPr bwMode="auto">
            <a:xfrm>
              <a:off x="4452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51" name="Freeform 26"/>
            <p:cNvSpPr>
              <a:spLocks/>
            </p:cNvSpPr>
            <p:nvPr/>
          </p:nvSpPr>
          <p:spPr bwMode="auto">
            <a:xfrm>
              <a:off x="4651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52" name="Freeform 27"/>
            <p:cNvSpPr>
              <a:spLocks/>
            </p:cNvSpPr>
            <p:nvPr/>
          </p:nvSpPr>
          <p:spPr bwMode="auto">
            <a:xfrm>
              <a:off x="4850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53" name="Freeform 28"/>
            <p:cNvSpPr>
              <a:spLocks/>
            </p:cNvSpPr>
            <p:nvPr/>
          </p:nvSpPr>
          <p:spPr bwMode="auto">
            <a:xfrm>
              <a:off x="5049" y="1283"/>
              <a:ext cx="182" cy="83"/>
            </a:xfrm>
            <a:custGeom>
              <a:avLst/>
              <a:gdLst>
                <a:gd name="T0" fmla="*/ 0 w 367"/>
                <a:gd name="T1" fmla="*/ 84 h 167"/>
                <a:gd name="T2" fmla="*/ 0 w 367"/>
                <a:gd name="T3" fmla="*/ 167 h 167"/>
                <a:gd name="T4" fmla="*/ 184 w 367"/>
                <a:gd name="T5" fmla="*/ 167 h 167"/>
                <a:gd name="T6" fmla="*/ 367 w 367"/>
                <a:gd name="T7" fmla="*/ 167 h 167"/>
                <a:gd name="T8" fmla="*/ 367 w 367"/>
                <a:gd name="T9" fmla="*/ 84 h 167"/>
                <a:gd name="T10" fmla="*/ 367 w 367"/>
                <a:gd name="T11" fmla="*/ 0 h 167"/>
                <a:gd name="T12" fmla="*/ 184 w 367"/>
                <a:gd name="T13" fmla="*/ 0 h 167"/>
                <a:gd name="T14" fmla="*/ 0 w 367"/>
                <a:gd name="T15" fmla="*/ 0 h 167"/>
                <a:gd name="T16" fmla="*/ 0 w 367"/>
                <a:gd name="T17" fmla="*/ 8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167">
                  <a:moveTo>
                    <a:pt x="0" y="84"/>
                  </a:moveTo>
                  <a:lnTo>
                    <a:pt x="0" y="167"/>
                  </a:lnTo>
                  <a:lnTo>
                    <a:pt x="184" y="167"/>
                  </a:lnTo>
                  <a:lnTo>
                    <a:pt x="367" y="167"/>
                  </a:lnTo>
                  <a:lnTo>
                    <a:pt x="367" y="84"/>
                  </a:lnTo>
                  <a:lnTo>
                    <a:pt x="367" y="0"/>
                  </a:lnTo>
                  <a:lnTo>
                    <a:pt x="184" y="0"/>
                  </a:lnTo>
                  <a:lnTo>
                    <a:pt x="0" y="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pic>
        <p:nvPicPr>
          <p:cNvPr id="54" name="Picture 5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3929" y="3388565"/>
            <a:ext cx="870315" cy="555229"/>
          </a:xfrm>
          <a:prstGeom prst="rect">
            <a:avLst/>
          </a:prstGeom>
        </p:spPr>
      </p:pic>
      <p:sp>
        <p:nvSpPr>
          <p:cNvPr id="55" name="Right Triangle 54"/>
          <p:cNvSpPr/>
          <p:nvPr/>
        </p:nvSpPr>
        <p:spPr>
          <a:xfrm flipH="1" flipV="1">
            <a:off x="8729434" y="2246102"/>
            <a:ext cx="404326" cy="372446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56" name="Parallelogram 55"/>
          <p:cNvSpPr/>
          <p:nvPr/>
        </p:nvSpPr>
        <p:spPr>
          <a:xfrm>
            <a:off x="8584809" y="1617451"/>
            <a:ext cx="2705100" cy="3657600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381000" dist="139700" dir="10800000" algn="r" rotWithShape="0">
              <a:prstClr val="black">
                <a:alpha val="4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57" name="Parallelogram 56"/>
          <p:cNvSpPr/>
          <p:nvPr/>
        </p:nvSpPr>
        <p:spPr>
          <a:xfrm>
            <a:off x="8459654" y="1021926"/>
            <a:ext cx="3524250" cy="4724399"/>
          </a:xfrm>
          <a:prstGeom prst="parallelogram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8" name="Parallelogram 57"/>
          <p:cNvSpPr/>
          <p:nvPr/>
        </p:nvSpPr>
        <p:spPr>
          <a:xfrm>
            <a:off x="8729434" y="1617453"/>
            <a:ext cx="2761472" cy="628650"/>
          </a:xfrm>
          <a:prstGeom prst="parallelogram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8903725" y="1674055"/>
            <a:ext cx="25908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F</a:t>
            </a: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ONKSİYONLAR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9940914" y="2803353"/>
            <a:ext cx="11010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Teminat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736447" y="3717654"/>
            <a:ext cx="13138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Finansman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9568210" y="4638008"/>
            <a:ext cx="1476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nformasyon</a:t>
            </a:r>
          </a:p>
        </p:txBody>
      </p:sp>
      <p:grpSp>
        <p:nvGrpSpPr>
          <p:cNvPr id="64" name="Group 10"/>
          <p:cNvGrpSpPr>
            <a:grpSpLocks noChangeAspect="1"/>
          </p:cNvGrpSpPr>
          <p:nvPr/>
        </p:nvGrpSpPr>
        <p:grpSpPr bwMode="auto">
          <a:xfrm>
            <a:off x="9410555" y="2614686"/>
            <a:ext cx="660961" cy="660655"/>
            <a:chOff x="1679" y="0"/>
            <a:chExt cx="4322" cy="4320"/>
          </a:xfrm>
        </p:grpSpPr>
        <p:sp>
          <p:nvSpPr>
            <p:cNvPr id="65" name="AutoShape 9"/>
            <p:cNvSpPr>
              <a:spLocks noChangeAspect="1" noChangeArrowheads="1" noTextEdit="1"/>
            </p:cNvSpPr>
            <p:nvPr/>
          </p:nvSpPr>
          <p:spPr bwMode="auto">
            <a:xfrm>
              <a:off x="1679" y="0"/>
              <a:ext cx="432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6" name="Freeform 11"/>
            <p:cNvSpPr>
              <a:spLocks noEditPoints="1"/>
            </p:cNvSpPr>
            <p:nvPr/>
          </p:nvSpPr>
          <p:spPr bwMode="auto">
            <a:xfrm>
              <a:off x="2473" y="118"/>
              <a:ext cx="2674" cy="2666"/>
            </a:xfrm>
            <a:custGeom>
              <a:avLst/>
              <a:gdLst>
                <a:gd name="T0" fmla="*/ 1561 w 4150"/>
                <a:gd name="T1" fmla="*/ 274 h 4140"/>
                <a:gd name="T2" fmla="*/ 1194 w 4150"/>
                <a:gd name="T3" fmla="*/ 446 h 4140"/>
                <a:gd name="T4" fmla="*/ 884 w 4150"/>
                <a:gd name="T5" fmla="*/ 465 h 4140"/>
                <a:gd name="T6" fmla="*/ 619 w 4150"/>
                <a:gd name="T7" fmla="*/ 590 h 4140"/>
                <a:gd name="T8" fmla="*/ 495 w 4150"/>
                <a:gd name="T9" fmla="*/ 783 h 4140"/>
                <a:gd name="T10" fmla="*/ 409 w 4150"/>
                <a:gd name="T11" fmla="*/ 1244 h 4140"/>
                <a:gd name="T12" fmla="*/ 178 w 4150"/>
                <a:gd name="T13" fmla="*/ 1695 h 4140"/>
                <a:gd name="T14" fmla="*/ 13 w 4150"/>
                <a:gd name="T15" fmla="*/ 2037 h 4140"/>
                <a:gd name="T16" fmla="*/ 12 w 4150"/>
                <a:gd name="T17" fmla="*/ 2289 h 4140"/>
                <a:gd name="T18" fmla="*/ 140 w 4150"/>
                <a:gd name="T19" fmla="*/ 2510 h 4140"/>
                <a:gd name="T20" fmla="*/ 376 w 4150"/>
                <a:gd name="T21" fmla="*/ 2761 h 4140"/>
                <a:gd name="T22" fmla="*/ 436 w 4150"/>
                <a:gd name="T23" fmla="*/ 3122 h 4140"/>
                <a:gd name="T24" fmla="*/ 509 w 4150"/>
                <a:gd name="T25" fmla="*/ 3399 h 4140"/>
                <a:gd name="T26" fmla="*/ 696 w 4150"/>
                <a:gd name="T27" fmla="*/ 3623 h 4140"/>
                <a:gd name="T28" fmla="*/ 898 w 4150"/>
                <a:gd name="T29" fmla="*/ 3729 h 4140"/>
                <a:gd name="T30" fmla="*/ 1293 w 4150"/>
                <a:gd name="T31" fmla="*/ 3764 h 4140"/>
                <a:gd name="T32" fmla="*/ 1615 w 4150"/>
                <a:gd name="T33" fmla="*/ 3950 h 4140"/>
                <a:gd name="T34" fmla="*/ 1929 w 4150"/>
                <a:gd name="T35" fmla="*/ 4130 h 4140"/>
                <a:gd name="T36" fmla="*/ 2271 w 4150"/>
                <a:gd name="T37" fmla="*/ 4117 h 4140"/>
                <a:gd name="T38" fmla="*/ 2617 w 4150"/>
                <a:gd name="T39" fmla="*/ 3887 h 4140"/>
                <a:gd name="T40" fmla="*/ 2949 w 4150"/>
                <a:gd name="T41" fmla="*/ 3754 h 4140"/>
                <a:gd name="T42" fmla="*/ 3308 w 4150"/>
                <a:gd name="T43" fmla="*/ 3710 h 4140"/>
                <a:gd name="T44" fmla="*/ 3499 w 4150"/>
                <a:gd name="T45" fmla="*/ 3585 h 4140"/>
                <a:gd name="T46" fmla="*/ 3654 w 4150"/>
                <a:gd name="T47" fmla="*/ 3374 h 4140"/>
                <a:gd name="T48" fmla="*/ 3719 w 4150"/>
                <a:gd name="T49" fmla="*/ 3060 h 4140"/>
                <a:gd name="T50" fmla="*/ 3803 w 4150"/>
                <a:gd name="T51" fmla="*/ 2717 h 4140"/>
                <a:gd name="T52" fmla="*/ 4053 w 4150"/>
                <a:gd name="T53" fmla="*/ 2457 h 4140"/>
                <a:gd name="T54" fmla="*/ 4149 w 4150"/>
                <a:gd name="T55" fmla="*/ 2241 h 4140"/>
                <a:gd name="T56" fmla="*/ 4124 w 4150"/>
                <a:gd name="T57" fmla="*/ 1981 h 4140"/>
                <a:gd name="T58" fmla="*/ 3935 w 4150"/>
                <a:gd name="T59" fmla="*/ 1642 h 4140"/>
                <a:gd name="T60" fmla="*/ 3734 w 4150"/>
                <a:gd name="T61" fmla="*/ 1184 h 4140"/>
                <a:gd name="T62" fmla="*/ 3632 w 4150"/>
                <a:gd name="T63" fmla="*/ 729 h 4140"/>
                <a:gd name="T64" fmla="*/ 3491 w 4150"/>
                <a:gd name="T65" fmla="*/ 555 h 4140"/>
                <a:gd name="T66" fmla="*/ 3195 w 4150"/>
                <a:gd name="T67" fmla="*/ 456 h 4140"/>
                <a:gd name="T68" fmla="*/ 2889 w 4150"/>
                <a:gd name="T69" fmla="*/ 435 h 4140"/>
                <a:gd name="T70" fmla="*/ 2500 w 4150"/>
                <a:gd name="T71" fmla="*/ 200 h 4140"/>
                <a:gd name="T72" fmla="*/ 2198 w 4150"/>
                <a:gd name="T73" fmla="*/ 18 h 4140"/>
                <a:gd name="T74" fmla="*/ 1999 w 4150"/>
                <a:gd name="T75" fmla="*/ 6 h 4140"/>
                <a:gd name="T76" fmla="*/ 2369 w 4150"/>
                <a:gd name="T77" fmla="*/ 870 h 4140"/>
                <a:gd name="T78" fmla="*/ 2804 w 4150"/>
                <a:gd name="T79" fmla="*/ 1074 h 4140"/>
                <a:gd name="T80" fmla="*/ 3124 w 4150"/>
                <a:gd name="T81" fmla="*/ 1422 h 4140"/>
                <a:gd name="T82" fmla="*/ 3295 w 4150"/>
                <a:gd name="T83" fmla="*/ 1875 h 4140"/>
                <a:gd name="T84" fmla="*/ 3302 w 4150"/>
                <a:gd name="T85" fmla="*/ 2221 h 4140"/>
                <a:gd name="T86" fmla="*/ 3178 w 4150"/>
                <a:gd name="T87" fmla="*/ 2628 h 4140"/>
                <a:gd name="T88" fmla="*/ 2928 w 4150"/>
                <a:gd name="T89" fmla="*/ 2972 h 4140"/>
                <a:gd name="T90" fmla="*/ 2640 w 4150"/>
                <a:gd name="T91" fmla="*/ 3179 h 4140"/>
                <a:gd name="T92" fmla="*/ 2224 w 4150"/>
                <a:gd name="T93" fmla="*/ 3301 h 4140"/>
                <a:gd name="T94" fmla="*/ 1745 w 4150"/>
                <a:gd name="T95" fmla="*/ 3273 h 4140"/>
                <a:gd name="T96" fmla="*/ 1356 w 4150"/>
                <a:gd name="T97" fmla="*/ 3082 h 4140"/>
                <a:gd name="T98" fmla="*/ 1025 w 4150"/>
                <a:gd name="T99" fmla="*/ 2724 h 4140"/>
                <a:gd name="T100" fmla="*/ 855 w 4150"/>
                <a:gd name="T101" fmla="*/ 2272 h 4140"/>
                <a:gd name="T102" fmla="*/ 856 w 4150"/>
                <a:gd name="T103" fmla="*/ 1881 h 4140"/>
                <a:gd name="T104" fmla="*/ 1024 w 4150"/>
                <a:gd name="T105" fmla="*/ 1427 h 4140"/>
                <a:gd name="T106" fmla="*/ 1342 w 4150"/>
                <a:gd name="T107" fmla="*/ 1078 h 4140"/>
                <a:gd name="T108" fmla="*/ 1775 w 4150"/>
                <a:gd name="T109" fmla="*/ 870 h 4140"/>
                <a:gd name="T110" fmla="*/ 2266 w 4150"/>
                <a:gd name="T111" fmla="*/ 848 h 4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50" h="4140">
                  <a:moveTo>
                    <a:pt x="1875" y="49"/>
                  </a:moveTo>
                  <a:lnTo>
                    <a:pt x="1828" y="73"/>
                  </a:lnTo>
                  <a:lnTo>
                    <a:pt x="1706" y="155"/>
                  </a:lnTo>
                  <a:lnTo>
                    <a:pt x="1650" y="200"/>
                  </a:lnTo>
                  <a:lnTo>
                    <a:pt x="1561" y="274"/>
                  </a:lnTo>
                  <a:lnTo>
                    <a:pt x="1452" y="353"/>
                  </a:lnTo>
                  <a:lnTo>
                    <a:pt x="1387" y="390"/>
                  </a:lnTo>
                  <a:lnTo>
                    <a:pt x="1325" y="417"/>
                  </a:lnTo>
                  <a:lnTo>
                    <a:pt x="1262" y="435"/>
                  </a:lnTo>
                  <a:lnTo>
                    <a:pt x="1194" y="446"/>
                  </a:lnTo>
                  <a:lnTo>
                    <a:pt x="1118" y="450"/>
                  </a:lnTo>
                  <a:lnTo>
                    <a:pt x="1075" y="450"/>
                  </a:lnTo>
                  <a:lnTo>
                    <a:pt x="1034" y="451"/>
                  </a:lnTo>
                  <a:lnTo>
                    <a:pt x="956" y="456"/>
                  </a:lnTo>
                  <a:lnTo>
                    <a:pt x="884" y="465"/>
                  </a:lnTo>
                  <a:lnTo>
                    <a:pt x="819" y="480"/>
                  </a:lnTo>
                  <a:lnTo>
                    <a:pt x="760" y="500"/>
                  </a:lnTo>
                  <a:lnTo>
                    <a:pt x="707" y="525"/>
                  </a:lnTo>
                  <a:lnTo>
                    <a:pt x="660" y="555"/>
                  </a:lnTo>
                  <a:lnTo>
                    <a:pt x="619" y="590"/>
                  </a:lnTo>
                  <a:lnTo>
                    <a:pt x="600" y="610"/>
                  </a:lnTo>
                  <a:lnTo>
                    <a:pt x="581" y="633"/>
                  </a:lnTo>
                  <a:lnTo>
                    <a:pt x="547" y="679"/>
                  </a:lnTo>
                  <a:lnTo>
                    <a:pt x="519" y="729"/>
                  </a:lnTo>
                  <a:lnTo>
                    <a:pt x="495" y="783"/>
                  </a:lnTo>
                  <a:lnTo>
                    <a:pt x="474" y="847"/>
                  </a:lnTo>
                  <a:lnTo>
                    <a:pt x="456" y="923"/>
                  </a:lnTo>
                  <a:lnTo>
                    <a:pt x="432" y="1062"/>
                  </a:lnTo>
                  <a:lnTo>
                    <a:pt x="417" y="1184"/>
                  </a:lnTo>
                  <a:lnTo>
                    <a:pt x="409" y="1244"/>
                  </a:lnTo>
                  <a:lnTo>
                    <a:pt x="379" y="1355"/>
                  </a:lnTo>
                  <a:lnTo>
                    <a:pt x="332" y="1463"/>
                  </a:lnTo>
                  <a:lnTo>
                    <a:pt x="262" y="1578"/>
                  </a:lnTo>
                  <a:lnTo>
                    <a:pt x="215" y="1642"/>
                  </a:lnTo>
                  <a:lnTo>
                    <a:pt x="178" y="1695"/>
                  </a:lnTo>
                  <a:lnTo>
                    <a:pt x="98" y="1827"/>
                  </a:lnTo>
                  <a:lnTo>
                    <a:pt x="69" y="1884"/>
                  </a:lnTo>
                  <a:lnTo>
                    <a:pt x="51" y="1921"/>
                  </a:lnTo>
                  <a:lnTo>
                    <a:pt x="27" y="1981"/>
                  </a:lnTo>
                  <a:lnTo>
                    <a:pt x="13" y="2037"/>
                  </a:lnTo>
                  <a:lnTo>
                    <a:pt x="5" y="2100"/>
                  </a:lnTo>
                  <a:lnTo>
                    <a:pt x="2" y="2139"/>
                  </a:lnTo>
                  <a:lnTo>
                    <a:pt x="0" y="2180"/>
                  </a:lnTo>
                  <a:lnTo>
                    <a:pt x="2" y="2241"/>
                  </a:lnTo>
                  <a:lnTo>
                    <a:pt x="12" y="2289"/>
                  </a:lnTo>
                  <a:lnTo>
                    <a:pt x="32" y="2341"/>
                  </a:lnTo>
                  <a:lnTo>
                    <a:pt x="49" y="2375"/>
                  </a:lnTo>
                  <a:lnTo>
                    <a:pt x="63" y="2404"/>
                  </a:lnTo>
                  <a:lnTo>
                    <a:pt x="97" y="2457"/>
                  </a:lnTo>
                  <a:lnTo>
                    <a:pt x="140" y="2510"/>
                  </a:lnTo>
                  <a:lnTo>
                    <a:pt x="197" y="2567"/>
                  </a:lnTo>
                  <a:lnTo>
                    <a:pt x="232" y="2599"/>
                  </a:lnTo>
                  <a:lnTo>
                    <a:pt x="289" y="2651"/>
                  </a:lnTo>
                  <a:lnTo>
                    <a:pt x="348" y="2717"/>
                  </a:lnTo>
                  <a:lnTo>
                    <a:pt x="376" y="2761"/>
                  </a:lnTo>
                  <a:lnTo>
                    <a:pt x="397" y="2808"/>
                  </a:lnTo>
                  <a:lnTo>
                    <a:pt x="411" y="2863"/>
                  </a:lnTo>
                  <a:lnTo>
                    <a:pt x="426" y="2966"/>
                  </a:lnTo>
                  <a:lnTo>
                    <a:pt x="432" y="3060"/>
                  </a:lnTo>
                  <a:lnTo>
                    <a:pt x="436" y="3122"/>
                  </a:lnTo>
                  <a:lnTo>
                    <a:pt x="446" y="3213"/>
                  </a:lnTo>
                  <a:lnTo>
                    <a:pt x="459" y="3280"/>
                  </a:lnTo>
                  <a:lnTo>
                    <a:pt x="481" y="3340"/>
                  </a:lnTo>
                  <a:lnTo>
                    <a:pt x="497" y="3374"/>
                  </a:lnTo>
                  <a:lnTo>
                    <a:pt x="509" y="3399"/>
                  </a:lnTo>
                  <a:lnTo>
                    <a:pt x="539" y="3449"/>
                  </a:lnTo>
                  <a:lnTo>
                    <a:pt x="572" y="3497"/>
                  </a:lnTo>
                  <a:lnTo>
                    <a:pt x="611" y="3543"/>
                  </a:lnTo>
                  <a:lnTo>
                    <a:pt x="652" y="3585"/>
                  </a:lnTo>
                  <a:lnTo>
                    <a:pt x="696" y="3623"/>
                  </a:lnTo>
                  <a:lnTo>
                    <a:pt x="742" y="3657"/>
                  </a:lnTo>
                  <a:lnTo>
                    <a:pt x="790" y="3685"/>
                  </a:lnTo>
                  <a:lnTo>
                    <a:pt x="814" y="3697"/>
                  </a:lnTo>
                  <a:lnTo>
                    <a:pt x="843" y="3710"/>
                  </a:lnTo>
                  <a:lnTo>
                    <a:pt x="898" y="3729"/>
                  </a:lnTo>
                  <a:lnTo>
                    <a:pt x="962" y="3740"/>
                  </a:lnTo>
                  <a:lnTo>
                    <a:pt x="1054" y="3747"/>
                  </a:lnTo>
                  <a:lnTo>
                    <a:pt x="1117" y="3750"/>
                  </a:lnTo>
                  <a:lnTo>
                    <a:pt x="1201" y="3754"/>
                  </a:lnTo>
                  <a:lnTo>
                    <a:pt x="1293" y="3764"/>
                  </a:lnTo>
                  <a:lnTo>
                    <a:pt x="1344" y="3776"/>
                  </a:lnTo>
                  <a:lnTo>
                    <a:pt x="1393" y="3796"/>
                  </a:lnTo>
                  <a:lnTo>
                    <a:pt x="1444" y="3824"/>
                  </a:lnTo>
                  <a:lnTo>
                    <a:pt x="1533" y="3887"/>
                  </a:lnTo>
                  <a:lnTo>
                    <a:pt x="1615" y="3950"/>
                  </a:lnTo>
                  <a:lnTo>
                    <a:pt x="1691" y="4008"/>
                  </a:lnTo>
                  <a:lnTo>
                    <a:pt x="1779" y="4068"/>
                  </a:lnTo>
                  <a:lnTo>
                    <a:pt x="1831" y="4096"/>
                  </a:lnTo>
                  <a:lnTo>
                    <a:pt x="1880" y="4117"/>
                  </a:lnTo>
                  <a:lnTo>
                    <a:pt x="1929" y="4130"/>
                  </a:lnTo>
                  <a:lnTo>
                    <a:pt x="2009" y="4140"/>
                  </a:lnTo>
                  <a:lnTo>
                    <a:pt x="2075" y="4140"/>
                  </a:lnTo>
                  <a:lnTo>
                    <a:pt x="2141" y="4140"/>
                  </a:lnTo>
                  <a:lnTo>
                    <a:pt x="2222" y="4130"/>
                  </a:lnTo>
                  <a:lnTo>
                    <a:pt x="2271" y="4117"/>
                  </a:lnTo>
                  <a:lnTo>
                    <a:pt x="2320" y="4096"/>
                  </a:lnTo>
                  <a:lnTo>
                    <a:pt x="2371" y="4068"/>
                  </a:lnTo>
                  <a:lnTo>
                    <a:pt x="2460" y="4008"/>
                  </a:lnTo>
                  <a:lnTo>
                    <a:pt x="2535" y="3950"/>
                  </a:lnTo>
                  <a:lnTo>
                    <a:pt x="2617" y="3887"/>
                  </a:lnTo>
                  <a:lnTo>
                    <a:pt x="2707" y="3824"/>
                  </a:lnTo>
                  <a:lnTo>
                    <a:pt x="2758" y="3796"/>
                  </a:lnTo>
                  <a:lnTo>
                    <a:pt x="2806" y="3776"/>
                  </a:lnTo>
                  <a:lnTo>
                    <a:pt x="2858" y="3764"/>
                  </a:lnTo>
                  <a:lnTo>
                    <a:pt x="2949" y="3754"/>
                  </a:lnTo>
                  <a:lnTo>
                    <a:pt x="3034" y="3750"/>
                  </a:lnTo>
                  <a:lnTo>
                    <a:pt x="3097" y="3747"/>
                  </a:lnTo>
                  <a:lnTo>
                    <a:pt x="3188" y="3740"/>
                  </a:lnTo>
                  <a:lnTo>
                    <a:pt x="3253" y="3729"/>
                  </a:lnTo>
                  <a:lnTo>
                    <a:pt x="3308" y="3710"/>
                  </a:lnTo>
                  <a:lnTo>
                    <a:pt x="3337" y="3697"/>
                  </a:lnTo>
                  <a:lnTo>
                    <a:pt x="3361" y="3685"/>
                  </a:lnTo>
                  <a:lnTo>
                    <a:pt x="3409" y="3657"/>
                  </a:lnTo>
                  <a:lnTo>
                    <a:pt x="3455" y="3623"/>
                  </a:lnTo>
                  <a:lnTo>
                    <a:pt x="3499" y="3585"/>
                  </a:lnTo>
                  <a:lnTo>
                    <a:pt x="3540" y="3543"/>
                  </a:lnTo>
                  <a:lnTo>
                    <a:pt x="3578" y="3497"/>
                  </a:lnTo>
                  <a:lnTo>
                    <a:pt x="3612" y="3449"/>
                  </a:lnTo>
                  <a:lnTo>
                    <a:pt x="3641" y="3399"/>
                  </a:lnTo>
                  <a:lnTo>
                    <a:pt x="3654" y="3374"/>
                  </a:lnTo>
                  <a:lnTo>
                    <a:pt x="3669" y="3340"/>
                  </a:lnTo>
                  <a:lnTo>
                    <a:pt x="3691" y="3280"/>
                  </a:lnTo>
                  <a:lnTo>
                    <a:pt x="3705" y="3213"/>
                  </a:lnTo>
                  <a:lnTo>
                    <a:pt x="3714" y="3122"/>
                  </a:lnTo>
                  <a:lnTo>
                    <a:pt x="3719" y="3060"/>
                  </a:lnTo>
                  <a:lnTo>
                    <a:pt x="3725" y="2966"/>
                  </a:lnTo>
                  <a:lnTo>
                    <a:pt x="3739" y="2863"/>
                  </a:lnTo>
                  <a:lnTo>
                    <a:pt x="3754" y="2808"/>
                  </a:lnTo>
                  <a:lnTo>
                    <a:pt x="3775" y="2761"/>
                  </a:lnTo>
                  <a:lnTo>
                    <a:pt x="3803" y="2717"/>
                  </a:lnTo>
                  <a:lnTo>
                    <a:pt x="3862" y="2651"/>
                  </a:lnTo>
                  <a:lnTo>
                    <a:pt x="3919" y="2599"/>
                  </a:lnTo>
                  <a:lnTo>
                    <a:pt x="3954" y="2567"/>
                  </a:lnTo>
                  <a:lnTo>
                    <a:pt x="4010" y="2510"/>
                  </a:lnTo>
                  <a:lnTo>
                    <a:pt x="4053" y="2457"/>
                  </a:lnTo>
                  <a:lnTo>
                    <a:pt x="4087" y="2404"/>
                  </a:lnTo>
                  <a:lnTo>
                    <a:pt x="4102" y="2375"/>
                  </a:lnTo>
                  <a:lnTo>
                    <a:pt x="4118" y="2341"/>
                  </a:lnTo>
                  <a:lnTo>
                    <a:pt x="4139" y="2289"/>
                  </a:lnTo>
                  <a:lnTo>
                    <a:pt x="4149" y="2241"/>
                  </a:lnTo>
                  <a:lnTo>
                    <a:pt x="4150" y="2180"/>
                  </a:lnTo>
                  <a:lnTo>
                    <a:pt x="4149" y="2139"/>
                  </a:lnTo>
                  <a:lnTo>
                    <a:pt x="4146" y="2100"/>
                  </a:lnTo>
                  <a:lnTo>
                    <a:pt x="4138" y="2037"/>
                  </a:lnTo>
                  <a:lnTo>
                    <a:pt x="4124" y="1981"/>
                  </a:lnTo>
                  <a:lnTo>
                    <a:pt x="4099" y="1921"/>
                  </a:lnTo>
                  <a:lnTo>
                    <a:pt x="4082" y="1884"/>
                  </a:lnTo>
                  <a:lnTo>
                    <a:pt x="4053" y="1827"/>
                  </a:lnTo>
                  <a:lnTo>
                    <a:pt x="3973" y="1695"/>
                  </a:lnTo>
                  <a:lnTo>
                    <a:pt x="3935" y="1642"/>
                  </a:lnTo>
                  <a:lnTo>
                    <a:pt x="3889" y="1578"/>
                  </a:lnTo>
                  <a:lnTo>
                    <a:pt x="3819" y="1463"/>
                  </a:lnTo>
                  <a:lnTo>
                    <a:pt x="3771" y="1355"/>
                  </a:lnTo>
                  <a:lnTo>
                    <a:pt x="3742" y="1244"/>
                  </a:lnTo>
                  <a:lnTo>
                    <a:pt x="3734" y="1184"/>
                  </a:lnTo>
                  <a:lnTo>
                    <a:pt x="3718" y="1062"/>
                  </a:lnTo>
                  <a:lnTo>
                    <a:pt x="3694" y="923"/>
                  </a:lnTo>
                  <a:lnTo>
                    <a:pt x="3676" y="847"/>
                  </a:lnTo>
                  <a:lnTo>
                    <a:pt x="3656" y="783"/>
                  </a:lnTo>
                  <a:lnTo>
                    <a:pt x="3632" y="729"/>
                  </a:lnTo>
                  <a:lnTo>
                    <a:pt x="3604" y="679"/>
                  </a:lnTo>
                  <a:lnTo>
                    <a:pt x="3570" y="633"/>
                  </a:lnTo>
                  <a:lnTo>
                    <a:pt x="3550" y="610"/>
                  </a:lnTo>
                  <a:lnTo>
                    <a:pt x="3532" y="590"/>
                  </a:lnTo>
                  <a:lnTo>
                    <a:pt x="3491" y="555"/>
                  </a:lnTo>
                  <a:lnTo>
                    <a:pt x="3444" y="525"/>
                  </a:lnTo>
                  <a:lnTo>
                    <a:pt x="3391" y="500"/>
                  </a:lnTo>
                  <a:lnTo>
                    <a:pt x="3332" y="480"/>
                  </a:lnTo>
                  <a:lnTo>
                    <a:pt x="3266" y="465"/>
                  </a:lnTo>
                  <a:lnTo>
                    <a:pt x="3195" y="456"/>
                  </a:lnTo>
                  <a:lnTo>
                    <a:pt x="3117" y="451"/>
                  </a:lnTo>
                  <a:lnTo>
                    <a:pt x="3075" y="450"/>
                  </a:lnTo>
                  <a:lnTo>
                    <a:pt x="3033" y="450"/>
                  </a:lnTo>
                  <a:lnTo>
                    <a:pt x="2957" y="446"/>
                  </a:lnTo>
                  <a:lnTo>
                    <a:pt x="2889" y="435"/>
                  </a:lnTo>
                  <a:lnTo>
                    <a:pt x="2826" y="417"/>
                  </a:lnTo>
                  <a:lnTo>
                    <a:pt x="2763" y="390"/>
                  </a:lnTo>
                  <a:lnTo>
                    <a:pt x="2698" y="353"/>
                  </a:lnTo>
                  <a:lnTo>
                    <a:pt x="2590" y="274"/>
                  </a:lnTo>
                  <a:lnTo>
                    <a:pt x="2500" y="200"/>
                  </a:lnTo>
                  <a:lnTo>
                    <a:pt x="2439" y="150"/>
                  </a:lnTo>
                  <a:lnTo>
                    <a:pt x="2354" y="92"/>
                  </a:lnTo>
                  <a:lnTo>
                    <a:pt x="2300" y="61"/>
                  </a:lnTo>
                  <a:lnTo>
                    <a:pt x="2248" y="36"/>
                  </a:lnTo>
                  <a:lnTo>
                    <a:pt x="2198" y="18"/>
                  </a:lnTo>
                  <a:lnTo>
                    <a:pt x="2149" y="7"/>
                  </a:lnTo>
                  <a:lnTo>
                    <a:pt x="2100" y="1"/>
                  </a:lnTo>
                  <a:lnTo>
                    <a:pt x="2075" y="0"/>
                  </a:lnTo>
                  <a:lnTo>
                    <a:pt x="2048" y="1"/>
                  </a:lnTo>
                  <a:lnTo>
                    <a:pt x="1999" y="6"/>
                  </a:lnTo>
                  <a:lnTo>
                    <a:pt x="1952" y="17"/>
                  </a:lnTo>
                  <a:lnTo>
                    <a:pt x="1903" y="36"/>
                  </a:lnTo>
                  <a:lnTo>
                    <a:pt x="1875" y="49"/>
                  </a:lnTo>
                  <a:close/>
                  <a:moveTo>
                    <a:pt x="2320" y="859"/>
                  </a:moveTo>
                  <a:lnTo>
                    <a:pt x="2369" y="870"/>
                  </a:lnTo>
                  <a:lnTo>
                    <a:pt x="2464" y="897"/>
                  </a:lnTo>
                  <a:lnTo>
                    <a:pt x="2555" y="932"/>
                  </a:lnTo>
                  <a:lnTo>
                    <a:pt x="2642" y="973"/>
                  </a:lnTo>
                  <a:lnTo>
                    <a:pt x="2725" y="1021"/>
                  </a:lnTo>
                  <a:lnTo>
                    <a:pt x="2804" y="1074"/>
                  </a:lnTo>
                  <a:lnTo>
                    <a:pt x="2878" y="1134"/>
                  </a:lnTo>
                  <a:lnTo>
                    <a:pt x="2947" y="1198"/>
                  </a:lnTo>
                  <a:lnTo>
                    <a:pt x="3012" y="1268"/>
                  </a:lnTo>
                  <a:lnTo>
                    <a:pt x="3070" y="1343"/>
                  </a:lnTo>
                  <a:lnTo>
                    <a:pt x="3124" y="1422"/>
                  </a:lnTo>
                  <a:lnTo>
                    <a:pt x="3171" y="1505"/>
                  </a:lnTo>
                  <a:lnTo>
                    <a:pt x="3212" y="1592"/>
                  </a:lnTo>
                  <a:lnTo>
                    <a:pt x="3246" y="1683"/>
                  </a:lnTo>
                  <a:lnTo>
                    <a:pt x="3274" y="1778"/>
                  </a:lnTo>
                  <a:lnTo>
                    <a:pt x="3295" y="1875"/>
                  </a:lnTo>
                  <a:lnTo>
                    <a:pt x="3302" y="1925"/>
                  </a:lnTo>
                  <a:lnTo>
                    <a:pt x="3307" y="1967"/>
                  </a:lnTo>
                  <a:lnTo>
                    <a:pt x="3311" y="2052"/>
                  </a:lnTo>
                  <a:lnTo>
                    <a:pt x="3310" y="2137"/>
                  </a:lnTo>
                  <a:lnTo>
                    <a:pt x="3302" y="2221"/>
                  </a:lnTo>
                  <a:lnTo>
                    <a:pt x="3288" y="2305"/>
                  </a:lnTo>
                  <a:lnTo>
                    <a:pt x="3269" y="2388"/>
                  </a:lnTo>
                  <a:lnTo>
                    <a:pt x="3244" y="2470"/>
                  </a:lnTo>
                  <a:lnTo>
                    <a:pt x="3214" y="2550"/>
                  </a:lnTo>
                  <a:lnTo>
                    <a:pt x="3178" y="2628"/>
                  </a:lnTo>
                  <a:lnTo>
                    <a:pt x="3138" y="2703"/>
                  </a:lnTo>
                  <a:lnTo>
                    <a:pt x="3092" y="2776"/>
                  </a:lnTo>
                  <a:lnTo>
                    <a:pt x="3042" y="2845"/>
                  </a:lnTo>
                  <a:lnTo>
                    <a:pt x="2987" y="2910"/>
                  </a:lnTo>
                  <a:lnTo>
                    <a:pt x="2928" y="2972"/>
                  </a:lnTo>
                  <a:lnTo>
                    <a:pt x="2865" y="3029"/>
                  </a:lnTo>
                  <a:lnTo>
                    <a:pt x="2797" y="3081"/>
                  </a:lnTo>
                  <a:lnTo>
                    <a:pt x="2762" y="3105"/>
                  </a:lnTo>
                  <a:lnTo>
                    <a:pt x="2720" y="3132"/>
                  </a:lnTo>
                  <a:lnTo>
                    <a:pt x="2640" y="3179"/>
                  </a:lnTo>
                  <a:lnTo>
                    <a:pt x="2561" y="3218"/>
                  </a:lnTo>
                  <a:lnTo>
                    <a:pt x="2481" y="3249"/>
                  </a:lnTo>
                  <a:lnTo>
                    <a:pt x="2400" y="3273"/>
                  </a:lnTo>
                  <a:lnTo>
                    <a:pt x="2315" y="3290"/>
                  </a:lnTo>
                  <a:lnTo>
                    <a:pt x="2224" y="3301"/>
                  </a:lnTo>
                  <a:lnTo>
                    <a:pt x="2127" y="3307"/>
                  </a:lnTo>
                  <a:lnTo>
                    <a:pt x="2075" y="3307"/>
                  </a:lnTo>
                  <a:lnTo>
                    <a:pt x="1997" y="3306"/>
                  </a:lnTo>
                  <a:lnTo>
                    <a:pt x="1863" y="3296"/>
                  </a:lnTo>
                  <a:lnTo>
                    <a:pt x="1745" y="3273"/>
                  </a:lnTo>
                  <a:lnTo>
                    <a:pt x="1631" y="3235"/>
                  </a:lnTo>
                  <a:lnTo>
                    <a:pt x="1572" y="3209"/>
                  </a:lnTo>
                  <a:lnTo>
                    <a:pt x="1526" y="3187"/>
                  </a:lnTo>
                  <a:lnTo>
                    <a:pt x="1439" y="3138"/>
                  </a:lnTo>
                  <a:lnTo>
                    <a:pt x="1356" y="3082"/>
                  </a:lnTo>
                  <a:lnTo>
                    <a:pt x="1279" y="3021"/>
                  </a:lnTo>
                  <a:lnTo>
                    <a:pt x="1207" y="2954"/>
                  </a:lnTo>
                  <a:lnTo>
                    <a:pt x="1140" y="2882"/>
                  </a:lnTo>
                  <a:lnTo>
                    <a:pt x="1080" y="2805"/>
                  </a:lnTo>
                  <a:lnTo>
                    <a:pt x="1025" y="2724"/>
                  </a:lnTo>
                  <a:lnTo>
                    <a:pt x="978" y="2639"/>
                  </a:lnTo>
                  <a:lnTo>
                    <a:pt x="936" y="2551"/>
                  </a:lnTo>
                  <a:lnTo>
                    <a:pt x="902" y="2461"/>
                  </a:lnTo>
                  <a:lnTo>
                    <a:pt x="875" y="2367"/>
                  </a:lnTo>
                  <a:lnTo>
                    <a:pt x="855" y="2272"/>
                  </a:lnTo>
                  <a:lnTo>
                    <a:pt x="843" y="2176"/>
                  </a:lnTo>
                  <a:lnTo>
                    <a:pt x="839" y="2078"/>
                  </a:lnTo>
                  <a:lnTo>
                    <a:pt x="843" y="1980"/>
                  </a:lnTo>
                  <a:lnTo>
                    <a:pt x="849" y="1930"/>
                  </a:lnTo>
                  <a:lnTo>
                    <a:pt x="856" y="1881"/>
                  </a:lnTo>
                  <a:lnTo>
                    <a:pt x="876" y="1783"/>
                  </a:lnTo>
                  <a:lnTo>
                    <a:pt x="903" y="1689"/>
                  </a:lnTo>
                  <a:lnTo>
                    <a:pt x="937" y="1598"/>
                  </a:lnTo>
                  <a:lnTo>
                    <a:pt x="977" y="1510"/>
                  </a:lnTo>
                  <a:lnTo>
                    <a:pt x="1024" y="1427"/>
                  </a:lnTo>
                  <a:lnTo>
                    <a:pt x="1077" y="1347"/>
                  </a:lnTo>
                  <a:lnTo>
                    <a:pt x="1135" y="1272"/>
                  </a:lnTo>
                  <a:lnTo>
                    <a:pt x="1199" y="1202"/>
                  </a:lnTo>
                  <a:lnTo>
                    <a:pt x="1268" y="1137"/>
                  </a:lnTo>
                  <a:lnTo>
                    <a:pt x="1342" y="1078"/>
                  </a:lnTo>
                  <a:lnTo>
                    <a:pt x="1420" y="1023"/>
                  </a:lnTo>
                  <a:lnTo>
                    <a:pt x="1503" y="975"/>
                  </a:lnTo>
                  <a:lnTo>
                    <a:pt x="1590" y="934"/>
                  </a:lnTo>
                  <a:lnTo>
                    <a:pt x="1681" y="898"/>
                  </a:lnTo>
                  <a:lnTo>
                    <a:pt x="1775" y="870"/>
                  </a:lnTo>
                  <a:lnTo>
                    <a:pt x="1824" y="859"/>
                  </a:lnTo>
                  <a:lnTo>
                    <a:pt x="1877" y="848"/>
                  </a:lnTo>
                  <a:lnTo>
                    <a:pt x="2003" y="837"/>
                  </a:lnTo>
                  <a:lnTo>
                    <a:pt x="2138" y="837"/>
                  </a:lnTo>
                  <a:lnTo>
                    <a:pt x="2266" y="848"/>
                  </a:lnTo>
                  <a:lnTo>
                    <a:pt x="2320" y="859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7" name="Freeform 12"/>
            <p:cNvSpPr>
              <a:spLocks/>
            </p:cNvSpPr>
            <p:nvPr/>
          </p:nvSpPr>
          <p:spPr bwMode="auto">
            <a:xfrm>
              <a:off x="3375" y="1127"/>
              <a:ext cx="902" cy="718"/>
            </a:xfrm>
            <a:custGeom>
              <a:avLst/>
              <a:gdLst>
                <a:gd name="T0" fmla="*/ 840 w 1400"/>
                <a:gd name="T1" fmla="*/ 262 h 1115"/>
                <a:gd name="T2" fmla="*/ 587 w 1400"/>
                <a:gd name="T3" fmla="*/ 523 h 1115"/>
                <a:gd name="T4" fmla="*/ 440 w 1400"/>
                <a:gd name="T5" fmla="*/ 387 h 1115"/>
                <a:gd name="T6" fmla="*/ 379 w 1400"/>
                <a:gd name="T7" fmla="*/ 332 h 1115"/>
                <a:gd name="T8" fmla="*/ 305 w 1400"/>
                <a:gd name="T9" fmla="*/ 273 h 1115"/>
                <a:gd name="T10" fmla="*/ 273 w 1400"/>
                <a:gd name="T11" fmla="*/ 252 h 1115"/>
                <a:gd name="T12" fmla="*/ 265 w 1400"/>
                <a:gd name="T13" fmla="*/ 250 h 1115"/>
                <a:gd name="T14" fmla="*/ 257 w 1400"/>
                <a:gd name="T15" fmla="*/ 252 h 1115"/>
                <a:gd name="T16" fmla="*/ 228 w 1400"/>
                <a:gd name="T17" fmla="*/ 272 h 1115"/>
                <a:gd name="T18" fmla="*/ 167 w 1400"/>
                <a:gd name="T19" fmla="*/ 328 h 1115"/>
                <a:gd name="T20" fmla="*/ 74 w 1400"/>
                <a:gd name="T21" fmla="*/ 427 h 1115"/>
                <a:gd name="T22" fmla="*/ 21 w 1400"/>
                <a:gd name="T23" fmla="*/ 493 h 1115"/>
                <a:gd name="T24" fmla="*/ 2 w 1400"/>
                <a:gd name="T25" fmla="*/ 523 h 1115"/>
                <a:gd name="T26" fmla="*/ 0 w 1400"/>
                <a:gd name="T27" fmla="*/ 532 h 1115"/>
                <a:gd name="T28" fmla="*/ 5 w 1400"/>
                <a:gd name="T29" fmla="*/ 542 h 1115"/>
                <a:gd name="T30" fmla="*/ 50 w 1400"/>
                <a:gd name="T31" fmla="*/ 597 h 1115"/>
                <a:gd name="T32" fmla="*/ 175 w 1400"/>
                <a:gd name="T33" fmla="*/ 731 h 1115"/>
                <a:gd name="T34" fmla="*/ 389 w 1400"/>
                <a:gd name="T35" fmla="*/ 945 h 1115"/>
                <a:gd name="T36" fmla="*/ 519 w 1400"/>
                <a:gd name="T37" fmla="*/ 1069 h 1115"/>
                <a:gd name="T38" fmla="*/ 572 w 1400"/>
                <a:gd name="T39" fmla="*/ 1112 h 1115"/>
                <a:gd name="T40" fmla="*/ 580 w 1400"/>
                <a:gd name="T41" fmla="*/ 1115 h 1115"/>
                <a:gd name="T42" fmla="*/ 593 w 1400"/>
                <a:gd name="T43" fmla="*/ 1106 h 1115"/>
                <a:gd name="T44" fmla="*/ 668 w 1400"/>
                <a:gd name="T45" fmla="*/ 1038 h 1115"/>
                <a:gd name="T46" fmla="*/ 853 w 1400"/>
                <a:gd name="T47" fmla="*/ 858 h 1115"/>
                <a:gd name="T48" fmla="*/ 1154 w 1400"/>
                <a:gd name="T49" fmla="*/ 556 h 1115"/>
                <a:gd name="T50" fmla="*/ 1330 w 1400"/>
                <a:gd name="T51" fmla="*/ 373 h 1115"/>
                <a:gd name="T52" fmla="*/ 1394 w 1400"/>
                <a:gd name="T53" fmla="*/ 302 h 1115"/>
                <a:gd name="T54" fmla="*/ 1400 w 1400"/>
                <a:gd name="T55" fmla="*/ 292 h 1115"/>
                <a:gd name="T56" fmla="*/ 1398 w 1400"/>
                <a:gd name="T57" fmla="*/ 283 h 1115"/>
                <a:gd name="T58" fmla="*/ 1378 w 1400"/>
                <a:gd name="T59" fmla="*/ 252 h 1115"/>
                <a:gd name="T60" fmla="*/ 1321 w 1400"/>
                <a:gd name="T61" fmla="*/ 185 h 1115"/>
                <a:gd name="T62" fmla="*/ 1222 w 1400"/>
                <a:gd name="T63" fmla="*/ 82 h 1115"/>
                <a:gd name="T64" fmla="*/ 1157 w 1400"/>
                <a:gd name="T65" fmla="*/ 23 h 1115"/>
                <a:gd name="T66" fmla="*/ 1127 w 1400"/>
                <a:gd name="T67" fmla="*/ 2 h 1115"/>
                <a:gd name="T68" fmla="*/ 1119 w 1400"/>
                <a:gd name="T69" fmla="*/ 0 h 1115"/>
                <a:gd name="T70" fmla="*/ 1110 w 1400"/>
                <a:gd name="T71" fmla="*/ 4 h 1115"/>
                <a:gd name="T72" fmla="*/ 1062 w 1400"/>
                <a:gd name="T73" fmla="*/ 43 h 1115"/>
                <a:gd name="T74" fmla="*/ 942 w 1400"/>
                <a:gd name="T75" fmla="*/ 156 h 1115"/>
                <a:gd name="T76" fmla="*/ 840 w 1400"/>
                <a:gd name="T77" fmla="*/ 262 h 1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00" h="1115">
                  <a:moveTo>
                    <a:pt x="840" y="262"/>
                  </a:moveTo>
                  <a:lnTo>
                    <a:pt x="587" y="523"/>
                  </a:lnTo>
                  <a:lnTo>
                    <a:pt x="440" y="387"/>
                  </a:lnTo>
                  <a:lnTo>
                    <a:pt x="379" y="332"/>
                  </a:lnTo>
                  <a:lnTo>
                    <a:pt x="305" y="273"/>
                  </a:lnTo>
                  <a:lnTo>
                    <a:pt x="273" y="252"/>
                  </a:lnTo>
                  <a:lnTo>
                    <a:pt x="265" y="250"/>
                  </a:lnTo>
                  <a:lnTo>
                    <a:pt x="257" y="252"/>
                  </a:lnTo>
                  <a:lnTo>
                    <a:pt x="228" y="272"/>
                  </a:lnTo>
                  <a:lnTo>
                    <a:pt x="167" y="328"/>
                  </a:lnTo>
                  <a:lnTo>
                    <a:pt x="74" y="427"/>
                  </a:lnTo>
                  <a:lnTo>
                    <a:pt x="21" y="493"/>
                  </a:lnTo>
                  <a:lnTo>
                    <a:pt x="2" y="523"/>
                  </a:lnTo>
                  <a:lnTo>
                    <a:pt x="0" y="532"/>
                  </a:lnTo>
                  <a:lnTo>
                    <a:pt x="5" y="542"/>
                  </a:lnTo>
                  <a:lnTo>
                    <a:pt x="50" y="597"/>
                  </a:lnTo>
                  <a:lnTo>
                    <a:pt x="175" y="731"/>
                  </a:lnTo>
                  <a:lnTo>
                    <a:pt x="389" y="945"/>
                  </a:lnTo>
                  <a:lnTo>
                    <a:pt x="519" y="1069"/>
                  </a:lnTo>
                  <a:lnTo>
                    <a:pt x="572" y="1112"/>
                  </a:lnTo>
                  <a:lnTo>
                    <a:pt x="580" y="1115"/>
                  </a:lnTo>
                  <a:lnTo>
                    <a:pt x="593" y="1106"/>
                  </a:lnTo>
                  <a:lnTo>
                    <a:pt x="668" y="1038"/>
                  </a:lnTo>
                  <a:lnTo>
                    <a:pt x="853" y="858"/>
                  </a:lnTo>
                  <a:lnTo>
                    <a:pt x="1154" y="556"/>
                  </a:lnTo>
                  <a:lnTo>
                    <a:pt x="1330" y="373"/>
                  </a:lnTo>
                  <a:lnTo>
                    <a:pt x="1394" y="302"/>
                  </a:lnTo>
                  <a:lnTo>
                    <a:pt x="1400" y="292"/>
                  </a:lnTo>
                  <a:lnTo>
                    <a:pt x="1398" y="283"/>
                  </a:lnTo>
                  <a:lnTo>
                    <a:pt x="1378" y="252"/>
                  </a:lnTo>
                  <a:lnTo>
                    <a:pt x="1321" y="185"/>
                  </a:lnTo>
                  <a:lnTo>
                    <a:pt x="1222" y="82"/>
                  </a:lnTo>
                  <a:lnTo>
                    <a:pt x="1157" y="23"/>
                  </a:lnTo>
                  <a:lnTo>
                    <a:pt x="1127" y="2"/>
                  </a:lnTo>
                  <a:lnTo>
                    <a:pt x="1119" y="0"/>
                  </a:lnTo>
                  <a:lnTo>
                    <a:pt x="1110" y="4"/>
                  </a:lnTo>
                  <a:lnTo>
                    <a:pt x="1062" y="43"/>
                  </a:lnTo>
                  <a:lnTo>
                    <a:pt x="942" y="156"/>
                  </a:lnTo>
                  <a:lnTo>
                    <a:pt x="840" y="262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8" name="Freeform 13"/>
            <p:cNvSpPr>
              <a:spLocks/>
            </p:cNvSpPr>
            <p:nvPr/>
          </p:nvSpPr>
          <p:spPr bwMode="auto">
            <a:xfrm>
              <a:off x="2290" y="2801"/>
              <a:ext cx="1312" cy="1374"/>
            </a:xfrm>
            <a:custGeom>
              <a:avLst/>
              <a:gdLst>
                <a:gd name="T0" fmla="*/ 235 w 2036"/>
                <a:gd name="T1" fmla="*/ 957 h 2133"/>
                <a:gd name="T2" fmla="*/ 45 w 2036"/>
                <a:gd name="T3" fmla="*/ 1351 h 2133"/>
                <a:gd name="T4" fmla="*/ 0 w 2036"/>
                <a:gd name="T5" fmla="*/ 1501 h 2133"/>
                <a:gd name="T6" fmla="*/ 25 w 2036"/>
                <a:gd name="T7" fmla="*/ 1575 h 2133"/>
                <a:gd name="T8" fmla="*/ 58 w 2036"/>
                <a:gd name="T9" fmla="*/ 1607 h 2133"/>
                <a:gd name="T10" fmla="*/ 119 w 2036"/>
                <a:gd name="T11" fmla="*/ 1633 h 2133"/>
                <a:gd name="T12" fmla="*/ 329 w 2036"/>
                <a:gd name="T13" fmla="*/ 1602 h 2133"/>
                <a:gd name="T14" fmla="*/ 563 w 2036"/>
                <a:gd name="T15" fmla="*/ 1561 h 2133"/>
                <a:gd name="T16" fmla="*/ 758 w 2036"/>
                <a:gd name="T17" fmla="*/ 1538 h 2133"/>
                <a:gd name="T18" fmla="*/ 792 w 2036"/>
                <a:gd name="T19" fmla="*/ 1583 h 2133"/>
                <a:gd name="T20" fmla="*/ 911 w 2036"/>
                <a:gd name="T21" fmla="*/ 1787 h 2133"/>
                <a:gd name="T22" fmla="*/ 1044 w 2036"/>
                <a:gd name="T23" fmla="*/ 2011 h 2133"/>
                <a:gd name="T24" fmla="*/ 1124 w 2036"/>
                <a:gd name="T25" fmla="*/ 2105 h 2133"/>
                <a:gd name="T26" fmla="*/ 1177 w 2036"/>
                <a:gd name="T27" fmla="*/ 2133 h 2133"/>
                <a:gd name="T28" fmla="*/ 1204 w 2036"/>
                <a:gd name="T29" fmla="*/ 2132 h 2133"/>
                <a:gd name="T30" fmla="*/ 1264 w 2036"/>
                <a:gd name="T31" fmla="*/ 2099 h 2133"/>
                <a:gd name="T32" fmla="*/ 1327 w 2036"/>
                <a:gd name="T33" fmla="*/ 2027 h 2133"/>
                <a:gd name="T34" fmla="*/ 1402 w 2036"/>
                <a:gd name="T35" fmla="*/ 1892 h 2133"/>
                <a:gd name="T36" fmla="*/ 1445 w 2036"/>
                <a:gd name="T37" fmla="*/ 1784 h 2133"/>
                <a:gd name="T38" fmla="*/ 1780 w 2036"/>
                <a:gd name="T39" fmla="*/ 1128 h 2133"/>
                <a:gd name="T40" fmla="*/ 2036 w 2036"/>
                <a:gd name="T41" fmla="*/ 650 h 2133"/>
                <a:gd name="T42" fmla="*/ 1967 w 2036"/>
                <a:gd name="T43" fmla="*/ 621 h 2133"/>
                <a:gd name="T44" fmla="*/ 1820 w 2036"/>
                <a:gd name="T45" fmla="*/ 525 h 2133"/>
                <a:gd name="T46" fmla="*/ 1684 w 2036"/>
                <a:gd name="T47" fmla="*/ 415 h 2133"/>
                <a:gd name="T48" fmla="*/ 1408 w 2036"/>
                <a:gd name="T49" fmla="*/ 318 h 2133"/>
                <a:gd name="T50" fmla="*/ 1204 w 2036"/>
                <a:gd name="T51" fmla="*/ 288 h 2133"/>
                <a:gd name="T52" fmla="*/ 1109 w 2036"/>
                <a:gd name="T53" fmla="*/ 260 h 2133"/>
                <a:gd name="T54" fmla="*/ 963 w 2036"/>
                <a:gd name="T55" fmla="*/ 191 h 2133"/>
                <a:gd name="T56" fmla="*/ 802 w 2036"/>
                <a:gd name="T57" fmla="*/ 74 h 2133"/>
                <a:gd name="T58" fmla="*/ 765 w 2036"/>
                <a:gd name="T59" fmla="*/ 28 h 2133"/>
                <a:gd name="T60" fmla="*/ 736 w 2036"/>
                <a:gd name="T61" fmla="*/ 0 h 2133"/>
                <a:gd name="T62" fmla="*/ 513 w 2036"/>
                <a:gd name="T63" fmla="*/ 415 h 2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36" h="2133">
                  <a:moveTo>
                    <a:pt x="371" y="692"/>
                  </a:moveTo>
                  <a:lnTo>
                    <a:pt x="235" y="957"/>
                  </a:lnTo>
                  <a:lnTo>
                    <a:pt x="102" y="1225"/>
                  </a:lnTo>
                  <a:lnTo>
                    <a:pt x="45" y="1351"/>
                  </a:lnTo>
                  <a:lnTo>
                    <a:pt x="12" y="1439"/>
                  </a:lnTo>
                  <a:lnTo>
                    <a:pt x="0" y="1501"/>
                  </a:lnTo>
                  <a:lnTo>
                    <a:pt x="5" y="1543"/>
                  </a:lnTo>
                  <a:lnTo>
                    <a:pt x="25" y="1575"/>
                  </a:lnTo>
                  <a:lnTo>
                    <a:pt x="39" y="1590"/>
                  </a:lnTo>
                  <a:lnTo>
                    <a:pt x="58" y="1607"/>
                  </a:lnTo>
                  <a:lnTo>
                    <a:pt x="102" y="1631"/>
                  </a:lnTo>
                  <a:lnTo>
                    <a:pt x="119" y="1633"/>
                  </a:lnTo>
                  <a:lnTo>
                    <a:pt x="151" y="1630"/>
                  </a:lnTo>
                  <a:lnTo>
                    <a:pt x="329" y="1602"/>
                  </a:lnTo>
                  <a:lnTo>
                    <a:pt x="446" y="1582"/>
                  </a:lnTo>
                  <a:lnTo>
                    <a:pt x="563" y="1561"/>
                  </a:lnTo>
                  <a:lnTo>
                    <a:pt x="733" y="1538"/>
                  </a:lnTo>
                  <a:lnTo>
                    <a:pt x="758" y="1538"/>
                  </a:lnTo>
                  <a:lnTo>
                    <a:pt x="764" y="1544"/>
                  </a:lnTo>
                  <a:lnTo>
                    <a:pt x="792" y="1583"/>
                  </a:lnTo>
                  <a:lnTo>
                    <a:pt x="857" y="1690"/>
                  </a:lnTo>
                  <a:lnTo>
                    <a:pt x="911" y="1787"/>
                  </a:lnTo>
                  <a:lnTo>
                    <a:pt x="961" y="1878"/>
                  </a:lnTo>
                  <a:lnTo>
                    <a:pt x="1044" y="2011"/>
                  </a:lnTo>
                  <a:lnTo>
                    <a:pt x="1094" y="2076"/>
                  </a:lnTo>
                  <a:lnTo>
                    <a:pt x="1124" y="2105"/>
                  </a:lnTo>
                  <a:lnTo>
                    <a:pt x="1151" y="2124"/>
                  </a:lnTo>
                  <a:lnTo>
                    <a:pt x="1177" y="2133"/>
                  </a:lnTo>
                  <a:lnTo>
                    <a:pt x="1189" y="2133"/>
                  </a:lnTo>
                  <a:lnTo>
                    <a:pt x="1204" y="2132"/>
                  </a:lnTo>
                  <a:lnTo>
                    <a:pt x="1233" y="2121"/>
                  </a:lnTo>
                  <a:lnTo>
                    <a:pt x="1264" y="2099"/>
                  </a:lnTo>
                  <a:lnTo>
                    <a:pt x="1296" y="2068"/>
                  </a:lnTo>
                  <a:lnTo>
                    <a:pt x="1327" y="2027"/>
                  </a:lnTo>
                  <a:lnTo>
                    <a:pt x="1358" y="1978"/>
                  </a:lnTo>
                  <a:lnTo>
                    <a:pt x="1402" y="1892"/>
                  </a:lnTo>
                  <a:lnTo>
                    <a:pt x="1428" y="1825"/>
                  </a:lnTo>
                  <a:lnTo>
                    <a:pt x="1445" y="1784"/>
                  </a:lnTo>
                  <a:lnTo>
                    <a:pt x="1544" y="1585"/>
                  </a:lnTo>
                  <a:lnTo>
                    <a:pt x="1780" y="1128"/>
                  </a:lnTo>
                  <a:lnTo>
                    <a:pt x="1963" y="787"/>
                  </a:lnTo>
                  <a:lnTo>
                    <a:pt x="2036" y="650"/>
                  </a:lnTo>
                  <a:lnTo>
                    <a:pt x="1991" y="632"/>
                  </a:lnTo>
                  <a:lnTo>
                    <a:pt x="1967" y="621"/>
                  </a:lnTo>
                  <a:lnTo>
                    <a:pt x="1901" y="582"/>
                  </a:lnTo>
                  <a:lnTo>
                    <a:pt x="1820" y="525"/>
                  </a:lnTo>
                  <a:lnTo>
                    <a:pt x="1730" y="454"/>
                  </a:lnTo>
                  <a:lnTo>
                    <a:pt x="1684" y="415"/>
                  </a:lnTo>
                  <a:lnTo>
                    <a:pt x="1591" y="337"/>
                  </a:lnTo>
                  <a:lnTo>
                    <a:pt x="1408" y="318"/>
                  </a:lnTo>
                  <a:lnTo>
                    <a:pt x="1321" y="309"/>
                  </a:lnTo>
                  <a:lnTo>
                    <a:pt x="1204" y="288"/>
                  </a:lnTo>
                  <a:lnTo>
                    <a:pt x="1137" y="270"/>
                  </a:lnTo>
                  <a:lnTo>
                    <a:pt x="1109" y="260"/>
                  </a:lnTo>
                  <a:lnTo>
                    <a:pt x="1061" y="241"/>
                  </a:lnTo>
                  <a:lnTo>
                    <a:pt x="963" y="191"/>
                  </a:lnTo>
                  <a:lnTo>
                    <a:pt x="872" y="133"/>
                  </a:lnTo>
                  <a:lnTo>
                    <a:pt x="802" y="74"/>
                  </a:lnTo>
                  <a:lnTo>
                    <a:pt x="779" y="47"/>
                  </a:lnTo>
                  <a:lnTo>
                    <a:pt x="765" y="28"/>
                  </a:lnTo>
                  <a:lnTo>
                    <a:pt x="742" y="3"/>
                  </a:lnTo>
                  <a:lnTo>
                    <a:pt x="736" y="0"/>
                  </a:lnTo>
                  <a:lnTo>
                    <a:pt x="712" y="39"/>
                  </a:lnTo>
                  <a:lnTo>
                    <a:pt x="513" y="415"/>
                  </a:lnTo>
                  <a:lnTo>
                    <a:pt x="371" y="692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Freeform 14"/>
            <p:cNvSpPr>
              <a:spLocks/>
            </p:cNvSpPr>
            <p:nvPr/>
          </p:nvSpPr>
          <p:spPr bwMode="auto">
            <a:xfrm>
              <a:off x="4019" y="2803"/>
              <a:ext cx="1312" cy="1372"/>
            </a:xfrm>
            <a:custGeom>
              <a:avLst/>
              <a:gdLst>
                <a:gd name="T0" fmla="*/ 1193 w 2036"/>
                <a:gd name="T1" fmla="*/ 102 h 2131"/>
                <a:gd name="T2" fmla="*/ 1075 w 2036"/>
                <a:gd name="T3" fmla="*/ 191 h 2131"/>
                <a:gd name="T4" fmla="*/ 937 w 2036"/>
                <a:gd name="T5" fmla="*/ 255 h 2131"/>
                <a:gd name="T6" fmla="*/ 773 w 2036"/>
                <a:gd name="T7" fmla="*/ 297 h 2131"/>
                <a:gd name="T8" fmla="*/ 626 w 2036"/>
                <a:gd name="T9" fmla="*/ 316 h 2131"/>
                <a:gd name="T10" fmla="*/ 351 w 2036"/>
                <a:gd name="T11" fmla="*/ 413 h 2131"/>
                <a:gd name="T12" fmla="*/ 216 w 2036"/>
                <a:gd name="T13" fmla="*/ 523 h 2131"/>
                <a:gd name="T14" fmla="*/ 69 w 2036"/>
                <a:gd name="T15" fmla="*/ 619 h 2131"/>
                <a:gd name="T16" fmla="*/ 0 w 2036"/>
                <a:gd name="T17" fmla="*/ 648 h 2131"/>
                <a:gd name="T18" fmla="*/ 256 w 2036"/>
                <a:gd name="T19" fmla="*/ 1126 h 2131"/>
                <a:gd name="T20" fmla="*/ 590 w 2036"/>
                <a:gd name="T21" fmla="*/ 1782 h 2131"/>
                <a:gd name="T22" fmla="*/ 634 w 2036"/>
                <a:gd name="T23" fmla="*/ 1890 h 2131"/>
                <a:gd name="T24" fmla="*/ 708 w 2036"/>
                <a:gd name="T25" fmla="*/ 2025 h 2131"/>
                <a:gd name="T26" fmla="*/ 771 w 2036"/>
                <a:gd name="T27" fmla="*/ 2097 h 2131"/>
                <a:gd name="T28" fmla="*/ 832 w 2036"/>
                <a:gd name="T29" fmla="*/ 2130 h 2131"/>
                <a:gd name="T30" fmla="*/ 859 w 2036"/>
                <a:gd name="T31" fmla="*/ 2131 h 2131"/>
                <a:gd name="T32" fmla="*/ 912 w 2036"/>
                <a:gd name="T33" fmla="*/ 2103 h 2131"/>
                <a:gd name="T34" fmla="*/ 992 w 2036"/>
                <a:gd name="T35" fmla="*/ 2009 h 2131"/>
                <a:gd name="T36" fmla="*/ 1125 w 2036"/>
                <a:gd name="T37" fmla="*/ 1785 h 2131"/>
                <a:gd name="T38" fmla="*/ 1244 w 2036"/>
                <a:gd name="T39" fmla="*/ 1581 h 2131"/>
                <a:gd name="T40" fmla="*/ 1278 w 2036"/>
                <a:gd name="T41" fmla="*/ 1536 h 2131"/>
                <a:gd name="T42" fmla="*/ 1472 w 2036"/>
                <a:gd name="T43" fmla="*/ 1559 h 2131"/>
                <a:gd name="T44" fmla="*/ 1707 w 2036"/>
                <a:gd name="T45" fmla="*/ 1600 h 2131"/>
                <a:gd name="T46" fmla="*/ 1916 w 2036"/>
                <a:gd name="T47" fmla="*/ 1631 h 2131"/>
                <a:gd name="T48" fmla="*/ 1977 w 2036"/>
                <a:gd name="T49" fmla="*/ 1605 h 2131"/>
                <a:gd name="T50" fmla="*/ 2011 w 2036"/>
                <a:gd name="T51" fmla="*/ 1573 h 2131"/>
                <a:gd name="T52" fmla="*/ 2036 w 2036"/>
                <a:gd name="T53" fmla="*/ 1499 h 2131"/>
                <a:gd name="T54" fmla="*/ 1990 w 2036"/>
                <a:gd name="T55" fmla="*/ 1349 h 2131"/>
                <a:gd name="T56" fmla="*/ 1800 w 2036"/>
                <a:gd name="T57" fmla="*/ 955 h 2131"/>
                <a:gd name="T58" fmla="*/ 1522 w 2036"/>
                <a:gd name="T59" fmla="*/ 413 h 2131"/>
                <a:gd name="T60" fmla="*/ 1301 w 2036"/>
                <a:gd name="T61" fmla="*/ 0 h 2131"/>
                <a:gd name="T62" fmla="*/ 1220 w 2036"/>
                <a:gd name="T63" fmla="*/ 75 h 2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36" h="2131">
                  <a:moveTo>
                    <a:pt x="1220" y="75"/>
                  </a:moveTo>
                  <a:lnTo>
                    <a:pt x="1193" y="102"/>
                  </a:lnTo>
                  <a:lnTo>
                    <a:pt x="1136" y="149"/>
                  </a:lnTo>
                  <a:lnTo>
                    <a:pt x="1075" y="191"/>
                  </a:lnTo>
                  <a:lnTo>
                    <a:pt x="1009" y="225"/>
                  </a:lnTo>
                  <a:lnTo>
                    <a:pt x="937" y="255"/>
                  </a:lnTo>
                  <a:lnTo>
                    <a:pt x="859" y="278"/>
                  </a:lnTo>
                  <a:lnTo>
                    <a:pt x="773" y="297"/>
                  </a:lnTo>
                  <a:lnTo>
                    <a:pt x="678" y="311"/>
                  </a:lnTo>
                  <a:lnTo>
                    <a:pt x="626" y="316"/>
                  </a:lnTo>
                  <a:lnTo>
                    <a:pt x="445" y="335"/>
                  </a:lnTo>
                  <a:lnTo>
                    <a:pt x="351" y="413"/>
                  </a:lnTo>
                  <a:lnTo>
                    <a:pt x="306" y="452"/>
                  </a:lnTo>
                  <a:lnTo>
                    <a:pt x="216" y="523"/>
                  </a:lnTo>
                  <a:lnTo>
                    <a:pt x="135" y="580"/>
                  </a:lnTo>
                  <a:lnTo>
                    <a:pt x="69" y="619"/>
                  </a:lnTo>
                  <a:lnTo>
                    <a:pt x="45" y="630"/>
                  </a:lnTo>
                  <a:lnTo>
                    <a:pt x="0" y="648"/>
                  </a:lnTo>
                  <a:lnTo>
                    <a:pt x="73" y="785"/>
                  </a:lnTo>
                  <a:lnTo>
                    <a:pt x="256" y="1126"/>
                  </a:lnTo>
                  <a:lnTo>
                    <a:pt x="492" y="1583"/>
                  </a:lnTo>
                  <a:lnTo>
                    <a:pt x="590" y="1782"/>
                  </a:lnTo>
                  <a:lnTo>
                    <a:pt x="608" y="1823"/>
                  </a:lnTo>
                  <a:lnTo>
                    <a:pt x="634" y="1890"/>
                  </a:lnTo>
                  <a:lnTo>
                    <a:pt x="678" y="1976"/>
                  </a:lnTo>
                  <a:lnTo>
                    <a:pt x="708" y="2025"/>
                  </a:lnTo>
                  <a:lnTo>
                    <a:pt x="740" y="2066"/>
                  </a:lnTo>
                  <a:lnTo>
                    <a:pt x="771" y="2097"/>
                  </a:lnTo>
                  <a:lnTo>
                    <a:pt x="802" y="2119"/>
                  </a:lnTo>
                  <a:lnTo>
                    <a:pt x="832" y="2130"/>
                  </a:lnTo>
                  <a:lnTo>
                    <a:pt x="846" y="2131"/>
                  </a:lnTo>
                  <a:lnTo>
                    <a:pt x="859" y="2131"/>
                  </a:lnTo>
                  <a:lnTo>
                    <a:pt x="885" y="2122"/>
                  </a:lnTo>
                  <a:lnTo>
                    <a:pt x="912" y="2103"/>
                  </a:lnTo>
                  <a:lnTo>
                    <a:pt x="942" y="2074"/>
                  </a:lnTo>
                  <a:lnTo>
                    <a:pt x="992" y="2009"/>
                  </a:lnTo>
                  <a:lnTo>
                    <a:pt x="1074" y="1876"/>
                  </a:lnTo>
                  <a:lnTo>
                    <a:pt x="1125" y="1785"/>
                  </a:lnTo>
                  <a:lnTo>
                    <a:pt x="1178" y="1688"/>
                  </a:lnTo>
                  <a:lnTo>
                    <a:pt x="1244" y="1581"/>
                  </a:lnTo>
                  <a:lnTo>
                    <a:pt x="1272" y="1542"/>
                  </a:lnTo>
                  <a:lnTo>
                    <a:pt x="1278" y="1536"/>
                  </a:lnTo>
                  <a:lnTo>
                    <a:pt x="1303" y="1536"/>
                  </a:lnTo>
                  <a:lnTo>
                    <a:pt x="1472" y="1559"/>
                  </a:lnTo>
                  <a:lnTo>
                    <a:pt x="1590" y="1580"/>
                  </a:lnTo>
                  <a:lnTo>
                    <a:pt x="1707" y="1600"/>
                  </a:lnTo>
                  <a:lnTo>
                    <a:pt x="1884" y="1628"/>
                  </a:lnTo>
                  <a:lnTo>
                    <a:pt x="1916" y="1631"/>
                  </a:lnTo>
                  <a:lnTo>
                    <a:pt x="1933" y="1629"/>
                  </a:lnTo>
                  <a:lnTo>
                    <a:pt x="1977" y="1605"/>
                  </a:lnTo>
                  <a:lnTo>
                    <a:pt x="1996" y="1588"/>
                  </a:lnTo>
                  <a:lnTo>
                    <a:pt x="2011" y="1573"/>
                  </a:lnTo>
                  <a:lnTo>
                    <a:pt x="2030" y="1541"/>
                  </a:lnTo>
                  <a:lnTo>
                    <a:pt x="2036" y="1499"/>
                  </a:lnTo>
                  <a:lnTo>
                    <a:pt x="2023" y="1437"/>
                  </a:lnTo>
                  <a:lnTo>
                    <a:pt x="1990" y="1349"/>
                  </a:lnTo>
                  <a:lnTo>
                    <a:pt x="1933" y="1223"/>
                  </a:lnTo>
                  <a:lnTo>
                    <a:pt x="1800" y="955"/>
                  </a:lnTo>
                  <a:lnTo>
                    <a:pt x="1665" y="690"/>
                  </a:lnTo>
                  <a:lnTo>
                    <a:pt x="1522" y="413"/>
                  </a:lnTo>
                  <a:lnTo>
                    <a:pt x="1325" y="38"/>
                  </a:lnTo>
                  <a:lnTo>
                    <a:pt x="1301" y="0"/>
                  </a:lnTo>
                  <a:lnTo>
                    <a:pt x="1278" y="18"/>
                  </a:lnTo>
                  <a:lnTo>
                    <a:pt x="1220" y="7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71" name="Group 17"/>
          <p:cNvGrpSpPr>
            <a:grpSpLocks noChangeAspect="1"/>
          </p:cNvGrpSpPr>
          <p:nvPr/>
        </p:nvGrpSpPr>
        <p:grpSpPr bwMode="auto">
          <a:xfrm>
            <a:off x="8966083" y="3384126"/>
            <a:ext cx="757482" cy="756776"/>
            <a:chOff x="4343" y="1128"/>
            <a:chExt cx="2146" cy="2144"/>
          </a:xfrm>
        </p:grpSpPr>
        <p:sp>
          <p:nvSpPr>
            <p:cNvPr id="72" name="AutoShape 16"/>
            <p:cNvSpPr>
              <a:spLocks noChangeAspect="1" noChangeArrowheads="1" noTextEdit="1"/>
            </p:cNvSpPr>
            <p:nvPr/>
          </p:nvSpPr>
          <p:spPr bwMode="auto">
            <a:xfrm>
              <a:off x="4343" y="1128"/>
              <a:ext cx="2146" cy="2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73" name="Freeform 18"/>
            <p:cNvSpPr>
              <a:spLocks noEditPoints="1"/>
            </p:cNvSpPr>
            <p:nvPr/>
          </p:nvSpPr>
          <p:spPr bwMode="auto">
            <a:xfrm>
              <a:off x="4959" y="1413"/>
              <a:ext cx="1260" cy="875"/>
            </a:xfrm>
            <a:custGeom>
              <a:avLst/>
              <a:gdLst>
                <a:gd name="T0" fmla="*/ 386 w 3938"/>
                <a:gd name="T1" fmla="*/ 316 h 2737"/>
                <a:gd name="T2" fmla="*/ 11 w 3938"/>
                <a:gd name="T3" fmla="*/ 1752 h 2737"/>
                <a:gd name="T4" fmla="*/ 437 w 3938"/>
                <a:gd name="T5" fmla="*/ 1927 h 2737"/>
                <a:gd name="T6" fmla="*/ 3358 w 3938"/>
                <a:gd name="T7" fmla="*/ 2711 h 2737"/>
                <a:gd name="T8" fmla="*/ 3486 w 3938"/>
                <a:gd name="T9" fmla="*/ 2674 h 2737"/>
                <a:gd name="T10" fmla="*/ 3798 w 3938"/>
                <a:gd name="T11" fmla="*/ 1495 h 2737"/>
                <a:gd name="T12" fmla="*/ 3938 w 3938"/>
                <a:gd name="T13" fmla="*/ 934 h 2737"/>
                <a:gd name="T14" fmla="*/ 2906 w 3938"/>
                <a:gd name="T15" fmla="*/ 651 h 2737"/>
                <a:gd name="T16" fmla="*/ 897 w 3938"/>
                <a:gd name="T17" fmla="*/ 111 h 2737"/>
                <a:gd name="T18" fmla="*/ 488 w 3938"/>
                <a:gd name="T19" fmla="*/ 0 h 2737"/>
                <a:gd name="T20" fmla="*/ 468 w 3938"/>
                <a:gd name="T21" fmla="*/ 22 h 2737"/>
                <a:gd name="T22" fmla="*/ 2546 w 3938"/>
                <a:gd name="T23" fmla="*/ 849 h 2737"/>
                <a:gd name="T24" fmla="*/ 3196 w 3938"/>
                <a:gd name="T25" fmla="*/ 1031 h 2737"/>
                <a:gd name="T26" fmla="*/ 3282 w 3938"/>
                <a:gd name="T27" fmla="*/ 1069 h 2737"/>
                <a:gd name="T28" fmla="*/ 3287 w 3938"/>
                <a:gd name="T29" fmla="*/ 1089 h 2737"/>
                <a:gd name="T30" fmla="*/ 3285 w 3938"/>
                <a:gd name="T31" fmla="*/ 1147 h 2737"/>
                <a:gd name="T32" fmla="*/ 3308 w 3938"/>
                <a:gd name="T33" fmla="*/ 1228 h 2737"/>
                <a:gd name="T34" fmla="*/ 3353 w 3938"/>
                <a:gd name="T35" fmla="*/ 1302 h 2737"/>
                <a:gd name="T36" fmla="*/ 3414 w 3938"/>
                <a:gd name="T37" fmla="*/ 1357 h 2737"/>
                <a:gd name="T38" fmla="*/ 3488 w 3938"/>
                <a:gd name="T39" fmla="*/ 1392 h 2737"/>
                <a:gd name="T40" fmla="*/ 3389 w 3938"/>
                <a:gd name="T41" fmla="*/ 1761 h 2737"/>
                <a:gd name="T42" fmla="*/ 3300 w 3938"/>
                <a:gd name="T43" fmla="*/ 2096 h 2737"/>
                <a:gd name="T44" fmla="*/ 3190 w 3938"/>
                <a:gd name="T45" fmla="*/ 2102 h 2737"/>
                <a:gd name="T46" fmla="*/ 3064 w 3938"/>
                <a:gd name="T47" fmla="*/ 2154 h 2737"/>
                <a:gd name="T48" fmla="*/ 2993 w 3938"/>
                <a:gd name="T49" fmla="*/ 2231 h 2737"/>
                <a:gd name="T50" fmla="*/ 2945 w 3938"/>
                <a:gd name="T51" fmla="*/ 2289 h 2737"/>
                <a:gd name="T52" fmla="*/ 2666 w 3938"/>
                <a:gd name="T53" fmla="*/ 2223 h 2737"/>
                <a:gd name="T54" fmla="*/ 650 w 3938"/>
                <a:gd name="T55" fmla="*/ 1681 h 2737"/>
                <a:gd name="T56" fmla="*/ 656 w 3938"/>
                <a:gd name="T57" fmla="*/ 1612 h 2737"/>
                <a:gd name="T58" fmla="*/ 642 w 3938"/>
                <a:gd name="T59" fmla="*/ 1534 h 2737"/>
                <a:gd name="T60" fmla="*/ 603 w 3938"/>
                <a:gd name="T61" fmla="*/ 1459 h 2737"/>
                <a:gd name="T62" fmla="*/ 542 w 3938"/>
                <a:gd name="T63" fmla="*/ 1391 h 2737"/>
                <a:gd name="T64" fmla="*/ 483 w 3938"/>
                <a:gd name="T65" fmla="*/ 1349 h 2737"/>
                <a:gd name="T66" fmla="*/ 465 w 3938"/>
                <a:gd name="T67" fmla="*/ 1321 h 2737"/>
                <a:gd name="T68" fmla="*/ 500 w 3938"/>
                <a:gd name="T69" fmla="*/ 1153 h 2737"/>
                <a:gd name="T70" fmla="*/ 583 w 3938"/>
                <a:gd name="T71" fmla="*/ 841 h 2737"/>
                <a:gd name="T72" fmla="*/ 643 w 3938"/>
                <a:gd name="T73" fmla="*/ 629 h 2737"/>
                <a:gd name="T74" fmla="*/ 747 w 3938"/>
                <a:gd name="T75" fmla="*/ 628 h 2737"/>
                <a:gd name="T76" fmla="*/ 838 w 3938"/>
                <a:gd name="T77" fmla="*/ 602 h 2737"/>
                <a:gd name="T78" fmla="*/ 906 w 3938"/>
                <a:gd name="T79" fmla="*/ 549 h 2737"/>
                <a:gd name="T80" fmla="*/ 972 w 3938"/>
                <a:gd name="T81" fmla="*/ 458 h 2737"/>
                <a:gd name="T82" fmla="*/ 976 w 3938"/>
                <a:gd name="T83" fmla="*/ 435 h 2737"/>
                <a:gd name="T84" fmla="*/ 998 w 3938"/>
                <a:gd name="T85" fmla="*/ 431 h 2737"/>
                <a:gd name="T86" fmla="*/ 2158 w 3938"/>
                <a:gd name="T87" fmla="*/ 746 h 2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938" h="2737">
                  <a:moveTo>
                    <a:pt x="468" y="22"/>
                  </a:moveTo>
                  <a:lnTo>
                    <a:pt x="386" y="316"/>
                  </a:lnTo>
                  <a:lnTo>
                    <a:pt x="131" y="1283"/>
                  </a:lnTo>
                  <a:lnTo>
                    <a:pt x="11" y="1752"/>
                  </a:lnTo>
                  <a:lnTo>
                    <a:pt x="0" y="1806"/>
                  </a:lnTo>
                  <a:lnTo>
                    <a:pt x="437" y="1927"/>
                  </a:lnTo>
                  <a:lnTo>
                    <a:pt x="2384" y="2451"/>
                  </a:lnTo>
                  <a:lnTo>
                    <a:pt x="3358" y="2711"/>
                  </a:lnTo>
                  <a:lnTo>
                    <a:pt x="3467" y="2737"/>
                  </a:lnTo>
                  <a:lnTo>
                    <a:pt x="3486" y="2674"/>
                  </a:lnTo>
                  <a:lnTo>
                    <a:pt x="3623" y="2166"/>
                  </a:lnTo>
                  <a:lnTo>
                    <a:pt x="3798" y="1495"/>
                  </a:lnTo>
                  <a:lnTo>
                    <a:pt x="3926" y="992"/>
                  </a:lnTo>
                  <a:lnTo>
                    <a:pt x="3938" y="934"/>
                  </a:lnTo>
                  <a:lnTo>
                    <a:pt x="3839" y="905"/>
                  </a:lnTo>
                  <a:lnTo>
                    <a:pt x="2906" y="651"/>
                  </a:lnTo>
                  <a:lnTo>
                    <a:pt x="2223" y="467"/>
                  </a:lnTo>
                  <a:lnTo>
                    <a:pt x="897" y="111"/>
                  </a:lnTo>
                  <a:lnTo>
                    <a:pt x="497" y="1"/>
                  </a:lnTo>
                  <a:lnTo>
                    <a:pt x="488" y="0"/>
                  </a:lnTo>
                  <a:lnTo>
                    <a:pt x="473" y="12"/>
                  </a:lnTo>
                  <a:lnTo>
                    <a:pt x="468" y="22"/>
                  </a:lnTo>
                  <a:close/>
                  <a:moveTo>
                    <a:pt x="2158" y="746"/>
                  </a:moveTo>
                  <a:lnTo>
                    <a:pt x="2546" y="849"/>
                  </a:lnTo>
                  <a:lnTo>
                    <a:pt x="3023" y="979"/>
                  </a:lnTo>
                  <a:lnTo>
                    <a:pt x="3196" y="1031"/>
                  </a:lnTo>
                  <a:lnTo>
                    <a:pt x="3256" y="1053"/>
                  </a:lnTo>
                  <a:lnTo>
                    <a:pt x="3282" y="1069"/>
                  </a:lnTo>
                  <a:lnTo>
                    <a:pt x="3288" y="1082"/>
                  </a:lnTo>
                  <a:lnTo>
                    <a:pt x="3287" y="1089"/>
                  </a:lnTo>
                  <a:lnTo>
                    <a:pt x="3284" y="1108"/>
                  </a:lnTo>
                  <a:lnTo>
                    <a:pt x="3285" y="1147"/>
                  </a:lnTo>
                  <a:lnTo>
                    <a:pt x="3293" y="1188"/>
                  </a:lnTo>
                  <a:lnTo>
                    <a:pt x="3308" y="1228"/>
                  </a:lnTo>
                  <a:lnTo>
                    <a:pt x="3328" y="1266"/>
                  </a:lnTo>
                  <a:lnTo>
                    <a:pt x="3353" y="1302"/>
                  </a:lnTo>
                  <a:lnTo>
                    <a:pt x="3382" y="1332"/>
                  </a:lnTo>
                  <a:lnTo>
                    <a:pt x="3414" y="1357"/>
                  </a:lnTo>
                  <a:lnTo>
                    <a:pt x="3432" y="1366"/>
                  </a:lnTo>
                  <a:lnTo>
                    <a:pt x="3488" y="1392"/>
                  </a:lnTo>
                  <a:lnTo>
                    <a:pt x="3438" y="1579"/>
                  </a:lnTo>
                  <a:lnTo>
                    <a:pt x="3389" y="1761"/>
                  </a:lnTo>
                  <a:lnTo>
                    <a:pt x="3343" y="1932"/>
                  </a:lnTo>
                  <a:lnTo>
                    <a:pt x="3300" y="2096"/>
                  </a:lnTo>
                  <a:lnTo>
                    <a:pt x="3225" y="2099"/>
                  </a:lnTo>
                  <a:lnTo>
                    <a:pt x="3190" y="2102"/>
                  </a:lnTo>
                  <a:lnTo>
                    <a:pt x="3123" y="2120"/>
                  </a:lnTo>
                  <a:lnTo>
                    <a:pt x="3064" y="2154"/>
                  </a:lnTo>
                  <a:lnTo>
                    <a:pt x="3014" y="2202"/>
                  </a:lnTo>
                  <a:lnTo>
                    <a:pt x="2993" y="2231"/>
                  </a:lnTo>
                  <a:lnTo>
                    <a:pt x="2976" y="2255"/>
                  </a:lnTo>
                  <a:lnTo>
                    <a:pt x="2945" y="2289"/>
                  </a:lnTo>
                  <a:lnTo>
                    <a:pt x="2935" y="2292"/>
                  </a:lnTo>
                  <a:lnTo>
                    <a:pt x="2666" y="2223"/>
                  </a:lnTo>
                  <a:lnTo>
                    <a:pt x="1783" y="1986"/>
                  </a:lnTo>
                  <a:lnTo>
                    <a:pt x="650" y="1681"/>
                  </a:lnTo>
                  <a:lnTo>
                    <a:pt x="655" y="1631"/>
                  </a:lnTo>
                  <a:lnTo>
                    <a:pt x="656" y="1612"/>
                  </a:lnTo>
                  <a:lnTo>
                    <a:pt x="653" y="1573"/>
                  </a:lnTo>
                  <a:lnTo>
                    <a:pt x="642" y="1534"/>
                  </a:lnTo>
                  <a:lnTo>
                    <a:pt x="626" y="1496"/>
                  </a:lnTo>
                  <a:lnTo>
                    <a:pt x="603" y="1459"/>
                  </a:lnTo>
                  <a:lnTo>
                    <a:pt x="575" y="1424"/>
                  </a:lnTo>
                  <a:lnTo>
                    <a:pt x="542" y="1391"/>
                  </a:lnTo>
                  <a:lnTo>
                    <a:pt x="504" y="1362"/>
                  </a:lnTo>
                  <a:lnTo>
                    <a:pt x="483" y="1349"/>
                  </a:lnTo>
                  <a:lnTo>
                    <a:pt x="474" y="1343"/>
                  </a:lnTo>
                  <a:lnTo>
                    <a:pt x="465" y="1321"/>
                  </a:lnTo>
                  <a:lnTo>
                    <a:pt x="473" y="1264"/>
                  </a:lnTo>
                  <a:lnTo>
                    <a:pt x="500" y="1153"/>
                  </a:lnTo>
                  <a:lnTo>
                    <a:pt x="523" y="1066"/>
                  </a:lnTo>
                  <a:lnTo>
                    <a:pt x="583" y="841"/>
                  </a:lnTo>
                  <a:lnTo>
                    <a:pt x="618" y="714"/>
                  </a:lnTo>
                  <a:lnTo>
                    <a:pt x="643" y="629"/>
                  </a:lnTo>
                  <a:lnTo>
                    <a:pt x="715" y="629"/>
                  </a:lnTo>
                  <a:lnTo>
                    <a:pt x="747" y="628"/>
                  </a:lnTo>
                  <a:lnTo>
                    <a:pt x="815" y="613"/>
                  </a:lnTo>
                  <a:lnTo>
                    <a:pt x="838" y="602"/>
                  </a:lnTo>
                  <a:lnTo>
                    <a:pt x="860" y="590"/>
                  </a:lnTo>
                  <a:lnTo>
                    <a:pt x="906" y="549"/>
                  </a:lnTo>
                  <a:lnTo>
                    <a:pt x="947" y="501"/>
                  </a:lnTo>
                  <a:lnTo>
                    <a:pt x="972" y="458"/>
                  </a:lnTo>
                  <a:lnTo>
                    <a:pt x="975" y="442"/>
                  </a:lnTo>
                  <a:lnTo>
                    <a:pt x="976" y="435"/>
                  </a:lnTo>
                  <a:lnTo>
                    <a:pt x="989" y="428"/>
                  </a:lnTo>
                  <a:lnTo>
                    <a:pt x="998" y="431"/>
                  </a:lnTo>
                  <a:lnTo>
                    <a:pt x="1272" y="506"/>
                  </a:lnTo>
                  <a:lnTo>
                    <a:pt x="2158" y="7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74" name="Freeform 19"/>
            <p:cNvSpPr>
              <a:spLocks/>
            </p:cNvSpPr>
            <p:nvPr/>
          </p:nvSpPr>
          <p:spPr bwMode="auto">
            <a:xfrm>
              <a:off x="5414" y="1676"/>
              <a:ext cx="351" cy="350"/>
            </a:xfrm>
            <a:custGeom>
              <a:avLst/>
              <a:gdLst>
                <a:gd name="T0" fmla="*/ 334 w 1095"/>
                <a:gd name="T1" fmla="*/ 37 h 1095"/>
                <a:gd name="T2" fmla="*/ 311 w 1095"/>
                <a:gd name="T3" fmla="*/ 47 h 1095"/>
                <a:gd name="T4" fmla="*/ 264 w 1095"/>
                <a:gd name="T5" fmla="*/ 72 h 1095"/>
                <a:gd name="T6" fmla="*/ 219 w 1095"/>
                <a:gd name="T7" fmla="*/ 103 h 1095"/>
                <a:gd name="T8" fmla="*/ 177 w 1095"/>
                <a:gd name="T9" fmla="*/ 139 h 1095"/>
                <a:gd name="T10" fmla="*/ 137 w 1095"/>
                <a:gd name="T11" fmla="*/ 180 h 1095"/>
                <a:gd name="T12" fmla="*/ 101 w 1095"/>
                <a:gd name="T13" fmla="*/ 224 h 1095"/>
                <a:gd name="T14" fmla="*/ 71 w 1095"/>
                <a:gd name="T15" fmla="*/ 270 h 1095"/>
                <a:gd name="T16" fmla="*/ 46 w 1095"/>
                <a:gd name="T17" fmla="*/ 318 h 1095"/>
                <a:gd name="T18" fmla="*/ 36 w 1095"/>
                <a:gd name="T19" fmla="*/ 342 h 1095"/>
                <a:gd name="T20" fmla="*/ 26 w 1095"/>
                <a:gd name="T21" fmla="*/ 370 h 1095"/>
                <a:gd name="T22" fmla="*/ 12 w 1095"/>
                <a:gd name="T23" fmla="*/ 427 h 1095"/>
                <a:gd name="T24" fmla="*/ 3 w 1095"/>
                <a:gd name="T25" fmla="*/ 486 h 1095"/>
                <a:gd name="T26" fmla="*/ 0 w 1095"/>
                <a:gd name="T27" fmla="*/ 547 h 1095"/>
                <a:gd name="T28" fmla="*/ 3 w 1095"/>
                <a:gd name="T29" fmla="*/ 607 h 1095"/>
                <a:gd name="T30" fmla="*/ 12 w 1095"/>
                <a:gd name="T31" fmla="*/ 666 h 1095"/>
                <a:gd name="T32" fmla="*/ 27 w 1095"/>
                <a:gd name="T33" fmla="*/ 722 h 1095"/>
                <a:gd name="T34" fmla="*/ 47 w 1095"/>
                <a:gd name="T35" fmla="*/ 775 h 1095"/>
                <a:gd name="T36" fmla="*/ 59 w 1095"/>
                <a:gd name="T37" fmla="*/ 799 h 1095"/>
                <a:gd name="T38" fmla="*/ 77 w 1095"/>
                <a:gd name="T39" fmla="*/ 829 h 1095"/>
                <a:gd name="T40" fmla="*/ 116 w 1095"/>
                <a:gd name="T41" fmla="*/ 885 h 1095"/>
                <a:gd name="T42" fmla="*/ 160 w 1095"/>
                <a:gd name="T43" fmla="*/ 934 h 1095"/>
                <a:gd name="T44" fmla="*/ 209 w 1095"/>
                <a:gd name="T45" fmla="*/ 977 h 1095"/>
                <a:gd name="T46" fmla="*/ 262 w 1095"/>
                <a:gd name="T47" fmla="*/ 1014 h 1095"/>
                <a:gd name="T48" fmla="*/ 317 w 1095"/>
                <a:gd name="T49" fmla="*/ 1044 h 1095"/>
                <a:gd name="T50" fmla="*/ 376 w 1095"/>
                <a:gd name="T51" fmla="*/ 1067 h 1095"/>
                <a:gd name="T52" fmla="*/ 436 w 1095"/>
                <a:gd name="T53" fmla="*/ 1083 h 1095"/>
                <a:gd name="T54" fmla="*/ 497 w 1095"/>
                <a:gd name="T55" fmla="*/ 1093 h 1095"/>
                <a:gd name="T56" fmla="*/ 559 w 1095"/>
                <a:gd name="T57" fmla="*/ 1095 h 1095"/>
                <a:gd name="T58" fmla="*/ 621 w 1095"/>
                <a:gd name="T59" fmla="*/ 1090 h 1095"/>
                <a:gd name="T60" fmla="*/ 682 w 1095"/>
                <a:gd name="T61" fmla="*/ 1079 h 1095"/>
                <a:gd name="T62" fmla="*/ 742 w 1095"/>
                <a:gd name="T63" fmla="*/ 1060 h 1095"/>
                <a:gd name="T64" fmla="*/ 801 w 1095"/>
                <a:gd name="T65" fmla="*/ 1033 h 1095"/>
                <a:gd name="T66" fmla="*/ 857 w 1095"/>
                <a:gd name="T67" fmla="*/ 999 h 1095"/>
                <a:gd name="T68" fmla="*/ 909 w 1095"/>
                <a:gd name="T69" fmla="*/ 958 h 1095"/>
                <a:gd name="T70" fmla="*/ 934 w 1095"/>
                <a:gd name="T71" fmla="*/ 934 h 1095"/>
                <a:gd name="T72" fmla="*/ 959 w 1095"/>
                <a:gd name="T73" fmla="*/ 908 h 1095"/>
                <a:gd name="T74" fmla="*/ 1001 w 1095"/>
                <a:gd name="T75" fmla="*/ 854 h 1095"/>
                <a:gd name="T76" fmla="*/ 1035 w 1095"/>
                <a:gd name="T77" fmla="*/ 797 h 1095"/>
                <a:gd name="T78" fmla="*/ 1062 w 1095"/>
                <a:gd name="T79" fmla="*/ 736 h 1095"/>
                <a:gd name="T80" fmla="*/ 1080 w 1095"/>
                <a:gd name="T81" fmla="*/ 674 h 1095"/>
                <a:gd name="T82" fmla="*/ 1091 w 1095"/>
                <a:gd name="T83" fmla="*/ 611 h 1095"/>
                <a:gd name="T84" fmla="*/ 1095 w 1095"/>
                <a:gd name="T85" fmla="*/ 547 h 1095"/>
                <a:gd name="T86" fmla="*/ 1091 w 1095"/>
                <a:gd name="T87" fmla="*/ 484 h 1095"/>
                <a:gd name="T88" fmla="*/ 1080 w 1095"/>
                <a:gd name="T89" fmla="*/ 421 h 1095"/>
                <a:gd name="T90" fmla="*/ 1061 w 1095"/>
                <a:gd name="T91" fmla="*/ 360 h 1095"/>
                <a:gd name="T92" fmla="*/ 1036 w 1095"/>
                <a:gd name="T93" fmla="*/ 301 h 1095"/>
                <a:gd name="T94" fmla="*/ 1004 w 1095"/>
                <a:gd name="T95" fmla="*/ 245 h 1095"/>
                <a:gd name="T96" fmla="*/ 965 w 1095"/>
                <a:gd name="T97" fmla="*/ 193 h 1095"/>
                <a:gd name="T98" fmla="*/ 919 w 1095"/>
                <a:gd name="T99" fmla="*/ 145 h 1095"/>
                <a:gd name="T100" fmla="*/ 867 w 1095"/>
                <a:gd name="T101" fmla="*/ 102 h 1095"/>
                <a:gd name="T102" fmla="*/ 808 w 1095"/>
                <a:gd name="T103" fmla="*/ 65 h 1095"/>
                <a:gd name="T104" fmla="*/ 776 w 1095"/>
                <a:gd name="T105" fmla="*/ 49 h 1095"/>
                <a:gd name="T106" fmla="*/ 752 w 1095"/>
                <a:gd name="T107" fmla="*/ 38 h 1095"/>
                <a:gd name="T108" fmla="*/ 700 w 1095"/>
                <a:gd name="T109" fmla="*/ 20 h 1095"/>
                <a:gd name="T110" fmla="*/ 645 w 1095"/>
                <a:gd name="T111" fmla="*/ 8 h 1095"/>
                <a:gd name="T112" fmla="*/ 589 w 1095"/>
                <a:gd name="T113" fmla="*/ 1 h 1095"/>
                <a:gd name="T114" fmla="*/ 531 w 1095"/>
                <a:gd name="T115" fmla="*/ 0 h 1095"/>
                <a:gd name="T116" fmla="*/ 474 w 1095"/>
                <a:gd name="T117" fmla="*/ 4 h 1095"/>
                <a:gd name="T118" fmla="*/ 417 w 1095"/>
                <a:gd name="T119" fmla="*/ 13 h 1095"/>
                <a:gd name="T120" fmla="*/ 361 w 1095"/>
                <a:gd name="T121" fmla="*/ 28 h 1095"/>
                <a:gd name="T122" fmla="*/ 334 w 1095"/>
                <a:gd name="T123" fmla="*/ 37 h 1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5" h="1095">
                  <a:moveTo>
                    <a:pt x="334" y="37"/>
                  </a:moveTo>
                  <a:lnTo>
                    <a:pt x="311" y="47"/>
                  </a:lnTo>
                  <a:lnTo>
                    <a:pt x="264" y="72"/>
                  </a:lnTo>
                  <a:lnTo>
                    <a:pt x="219" y="103"/>
                  </a:lnTo>
                  <a:lnTo>
                    <a:pt x="177" y="139"/>
                  </a:lnTo>
                  <a:lnTo>
                    <a:pt x="137" y="180"/>
                  </a:lnTo>
                  <a:lnTo>
                    <a:pt x="101" y="224"/>
                  </a:lnTo>
                  <a:lnTo>
                    <a:pt x="71" y="270"/>
                  </a:lnTo>
                  <a:lnTo>
                    <a:pt x="46" y="318"/>
                  </a:lnTo>
                  <a:lnTo>
                    <a:pt x="36" y="342"/>
                  </a:lnTo>
                  <a:lnTo>
                    <a:pt x="26" y="370"/>
                  </a:lnTo>
                  <a:lnTo>
                    <a:pt x="12" y="427"/>
                  </a:lnTo>
                  <a:lnTo>
                    <a:pt x="3" y="486"/>
                  </a:lnTo>
                  <a:lnTo>
                    <a:pt x="0" y="547"/>
                  </a:lnTo>
                  <a:lnTo>
                    <a:pt x="3" y="607"/>
                  </a:lnTo>
                  <a:lnTo>
                    <a:pt x="12" y="666"/>
                  </a:lnTo>
                  <a:lnTo>
                    <a:pt x="27" y="722"/>
                  </a:lnTo>
                  <a:lnTo>
                    <a:pt x="47" y="775"/>
                  </a:lnTo>
                  <a:lnTo>
                    <a:pt x="59" y="799"/>
                  </a:lnTo>
                  <a:lnTo>
                    <a:pt x="77" y="829"/>
                  </a:lnTo>
                  <a:lnTo>
                    <a:pt x="116" y="885"/>
                  </a:lnTo>
                  <a:lnTo>
                    <a:pt x="160" y="934"/>
                  </a:lnTo>
                  <a:lnTo>
                    <a:pt x="209" y="977"/>
                  </a:lnTo>
                  <a:lnTo>
                    <a:pt x="262" y="1014"/>
                  </a:lnTo>
                  <a:lnTo>
                    <a:pt x="317" y="1044"/>
                  </a:lnTo>
                  <a:lnTo>
                    <a:pt x="376" y="1067"/>
                  </a:lnTo>
                  <a:lnTo>
                    <a:pt x="436" y="1083"/>
                  </a:lnTo>
                  <a:lnTo>
                    <a:pt x="497" y="1093"/>
                  </a:lnTo>
                  <a:lnTo>
                    <a:pt x="559" y="1095"/>
                  </a:lnTo>
                  <a:lnTo>
                    <a:pt x="621" y="1090"/>
                  </a:lnTo>
                  <a:lnTo>
                    <a:pt x="682" y="1079"/>
                  </a:lnTo>
                  <a:lnTo>
                    <a:pt x="742" y="1060"/>
                  </a:lnTo>
                  <a:lnTo>
                    <a:pt x="801" y="1033"/>
                  </a:lnTo>
                  <a:lnTo>
                    <a:pt x="857" y="999"/>
                  </a:lnTo>
                  <a:lnTo>
                    <a:pt x="909" y="958"/>
                  </a:lnTo>
                  <a:lnTo>
                    <a:pt x="934" y="934"/>
                  </a:lnTo>
                  <a:lnTo>
                    <a:pt x="959" y="908"/>
                  </a:lnTo>
                  <a:lnTo>
                    <a:pt x="1001" y="854"/>
                  </a:lnTo>
                  <a:lnTo>
                    <a:pt x="1035" y="797"/>
                  </a:lnTo>
                  <a:lnTo>
                    <a:pt x="1062" y="736"/>
                  </a:lnTo>
                  <a:lnTo>
                    <a:pt x="1080" y="674"/>
                  </a:lnTo>
                  <a:lnTo>
                    <a:pt x="1091" y="611"/>
                  </a:lnTo>
                  <a:lnTo>
                    <a:pt x="1095" y="547"/>
                  </a:lnTo>
                  <a:lnTo>
                    <a:pt x="1091" y="484"/>
                  </a:lnTo>
                  <a:lnTo>
                    <a:pt x="1080" y="421"/>
                  </a:lnTo>
                  <a:lnTo>
                    <a:pt x="1061" y="360"/>
                  </a:lnTo>
                  <a:lnTo>
                    <a:pt x="1036" y="301"/>
                  </a:lnTo>
                  <a:lnTo>
                    <a:pt x="1004" y="245"/>
                  </a:lnTo>
                  <a:lnTo>
                    <a:pt x="965" y="193"/>
                  </a:lnTo>
                  <a:lnTo>
                    <a:pt x="919" y="145"/>
                  </a:lnTo>
                  <a:lnTo>
                    <a:pt x="867" y="102"/>
                  </a:lnTo>
                  <a:lnTo>
                    <a:pt x="808" y="65"/>
                  </a:lnTo>
                  <a:lnTo>
                    <a:pt x="776" y="49"/>
                  </a:lnTo>
                  <a:lnTo>
                    <a:pt x="752" y="38"/>
                  </a:lnTo>
                  <a:lnTo>
                    <a:pt x="700" y="20"/>
                  </a:lnTo>
                  <a:lnTo>
                    <a:pt x="645" y="8"/>
                  </a:lnTo>
                  <a:lnTo>
                    <a:pt x="589" y="1"/>
                  </a:lnTo>
                  <a:lnTo>
                    <a:pt x="531" y="0"/>
                  </a:lnTo>
                  <a:lnTo>
                    <a:pt x="474" y="4"/>
                  </a:lnTo>
                  <a:lnTo>
                    <a:pt x="417" y="13"/>
                  </a:lnTo>
                  <a:lnTo>
                    <a:pt x="361" y="28"/>
                  </a:lnTo>
                  <a:lnTo>
                    <a:pt x="334" y="3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75" name="Freeform 20"/>
            <p:cNvSpPr>
              <a:spLocks/>
            </p:cNvSpPr>
            <p:nvPr/>
          </p:nvSpPr>
          <p:spPr bwMode="auto">
            <a:xfrm>
              <a:off x="4450" y="2151"/>
              <a:ext cx="389" cy="687"/>
            </a:xfrm>
            <a:custGeom>
              <a:avLst/>
              <a:gdLst>
                <a:gd name="T0" fmla="*/ 0 w 1217"/>
                <a:gd name="T1" fmla="*/ 1075 h 2150"/>
                <a:gd name="T2" fmla="*/ 0 w 1217"/>
                <a:gd name="T3" fmla="*/ 2150 h 2150"/>
                <a:gd name="T4" fmla="*/ 609 w 1217"/>
                <a:gd name="T5" fmla="*/ 2150 h 2150"/>
                <a:gd name="T6" fmla="*/ 1217 w 1217"/>
                <a:gd name="T7" fmla="*/ 2150 h 2150"/>
                <a:gd name="T8" fmla="*/ 1217 w 1217"/>
                <a:gd name="T9" fmla="*/ 1075 h 2150"/>
                <a:gd name="T10" fmla="*/ 1217 w 1217"/>
                <a:gd name="T11" fmla="*/ 0 h 2150"/>
                <a:gd name="T12" fmla="*/ 609 w 1217"/>
                <a:gd name="T13" fmla="*/ 0 h 2150"/>
                <a:gd name="T14" fmla="*/ 0 w 1217"/>
                <a:gd name="T15" fmla="*/ 0 h 2150"/>
                <a:gd name="T16" fmla="*/ 0 w 1217"/>
                <a:gd name="T17" fmla="*/ 1075 h 2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7" h="2150">
                  <a:moveTo>
                    <a:pt x="0" y="1075"/>
                  </a:moveTo>
                  <a:lnTo>
                    <a:pt x="0" y="2150"/>
                  </a:lnTo>
                  <a:lnTo>
                    <a:pt x="609" y="2150"/>
                  </a:lnTo>
                  <a:lnTo>
                    <a:pt x="1217" y="2150"/>
                  </a:lnTo>
                  <a:lnTo>
                    <a:pt x="1217" y="1075"/>
                  </a:lnTo>
                  <a:lnTo>
                    <a:pt x="1217" y="0"/>
                  </a:lnTo>
                  <a:lnTo>
                    <a:pt x="609" y="0"/>
                  </a:lnTo>
                  <a:lnTo>
                    <a:pt x="0" y="0"/>
                  </a:lnTo>
                  <a:lnTo>
                    <a:pt x="0" y="1075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76" name="Freeform 21"/>
            <p:cNvSpPr>
              <a:spLocks/>
            </p:cNvSpPr>
            <p:nvPr/>
          </p:nvSpPr>
          <p:spPr bwMode="auto">
            <a:xfrm>
              <a:off x="4913" y="2204"/>
              <a:ext cx="1450" cy="774"/>
            </a:xfrm>
            <a:custGeom>
              <a:avLst/>
              <a:gdLst>
                <a:gd name="T0" fmla="*/ 0 w 4530"/>
                <a:gd name="T1" fmla="*/ 1798 h 2421"/>
                <a:gd name="T2" fmla="*/ 257 w 4530"/>
                <a:gd name="T3" fmla="*/ 1935 h 2421"/>
                <a:gd name="T4" fmla="*/ 812 w 4530"/>
                <a:gd name="T5" fmla="*/ 2217 h 2421"/>
                <a:gd name="T6" fmla="*/ 1124 w 4530"/>
                <a:gd name="T7" fmla="*/ 2357 h 2421"/>
                <a:gd name="T8" fmla="*/ 1306 w 4530"/>
                <a:gd name="T9" fmla="*/ 2406 h 2421"/>
                <a:gd name="T10" fmla="*/ 1494 w 4530"/>
                <a:gd name="T11" fmla="*/ 2421 h 2421"/>
                <a:gd name="T12" fmla="*/ 1613 w 4530"/>
                <a:gd name="T13" fmla="*/ 2421 h 2421"/>
                <a:gd name="T14" fmla="*/ 1784 w 4530"/>
                <a:gd name="T15" fmla="*/ 2408 h 2421"/>
                <a:gd name="T16" fmla="*/ 1902 w 4530"/>
                <a:gd name="T17" fmla="*/ 2378 h 2421"/>
                <a:gd name="T18" fmla="*/ 2079 w 4530"/>
                <a:gd name="T19" fmla="*/ 2310 h 2421"/>
                <a:gd name="T20" fmla="*/ 2773 w 4530"/>
                <a:gd name="T21" fmla="*/ 1969 h 2421"/>
                <a:gd name="T22" fmla="*/ 3434 w 4530"/>
                <a:gd name="T23" fmla="*/ 1603 h 2421"/>
                <a:gd name="T24" fmla="*/ 3813 w 4530"/>
                <a:gd name="T25" fmla="*/ 1365 h 2421"/>
                <a:gd name="T26" fmla="*/ 4306 w 4530"/>
                <a:gd name="T27" fmla="*/ 1031 h 2421"/>
                <a:gd name="T28" fmla="*/ 4387 w 4530"/>
                <a:gd name="T29" fmla="*/ 967 h 2421"/>
                <a:gd name="T30" fmla="*/ 4468 w 4530"/>
                <a:gd name="T31" fmla="*/ 869 h 2421"/>
                <a:gd name="T32" fmla="*/ 4516 w 4530"/>
                <a:gd name="T33" fmla="*/ 758 h 2421"/>
                <a:gd name="T34" fmla="*/ 4530 w 4530"/>
                <a:gd name="T35" fmla="*/ 639 h 2421"/>
                <a:gd name="T36" fmla="*/ 4517 w 4530"/>
                <a:gd name="T37" fmla="*/ 550 h 2421"/>
                <a:gd name="T38" fmla="*/ 4494 w 4530"/>
                <a:gd name="T39" fmla="*/ 492 h 2421"/>
                <a:gd name="T40" fmla="*/ 4433 w 4530"/>
                <a:gd name="T41" fmla="*/ 412 h 2421"/>
                <a:gd name="T42" fmla="*/ 4372 w 4530"/>
                <a:gd name="T43" fmla="*/ 354 h 2421"/>
                <a:gd name="T44" fmla="*/ 4275 w 4530"/>
                <a:gd name="T45" fmla="*/ 295 h 2421"/>
                <a:gd name="T46" fmla="*/ 4190 w 4530"/>
                <a:gd name="T47" fmla="*/ 272 h 2421"/>
                <a:gd name="T48" fmla="*/ 4062 w 4530"/>
                <a:gd name="T49" fmla="*/ 270 h 2421"/>
                <a:gd name="T50" fmla="*/ 3952 w 4530"/>
                <a:gd name="T51" fmla="*/ 294 h 2421"/>
                <a:gd name="T52" fmla="*/ 3628 w 4530"/>
                <a:gd name="T53" fmla="*/ 444 h 2421"/>
                <a:gd name="T54" fmla="*/ 3004 w 4530"/>
                <a:gd name="T55" fmla="*/ 756 h 2421"/>
                <a:gd name="T56" fmla="*/ 2934 w 4530"/>
                <a:gd name="T57" fmla="*/ 914 h 2421"/>
                <a:gd name="T58" fmla="*/ 2866 w 4530"/>
                <a:gd name="T59" fmla="*/ 1026 h 2421"/>
                <a:gd name="T60" fmla="*/ 2800 w 4530"/>
                <a:gd name="T61" fmla="*/ 1101 h 2421"/>
                <a:gd name="T62" fmla="*/ 2703 w 4530"/>
                <a:gd name="T63" fmla="*/ 1186 h 2421"/>
                <a:gd name="T64" fmla="*/ 2553 w 4530"/>
                <a:gd name="T65" fmla="*/ 1266 h 2421"/>
                <a:gd name="T66" fmla="*/ 2361 w 4530"/>
                <a:gd name="T67" fmla="*/ 1315 h 2421"/>
                <a:gd name="T68" fmla="*/ 2104 w 4530"/>
                <a:gd name="T69" fmla="*/ 1340 h 2421"/>
                <a:gd name="T70" fmla="*/ 1937 w 4530"/>
                <a:gd name="T71" fmla="*/ 1346 h 2421"/>
                <a:gd name="T72" fmla="*/ 1763 w 4530"/>
                <a:gd name="T73" fmla="*/ 1344 h 2421"/>
                <a:gd name="T74" fmla="*/ 1714 w 4530"/>
                <a:gd name="T75" fmla="*/ 1318 h 2421"/>
                <a:gd name="T76" fmla="*/ 1686 w 4530"/>
                <a:gd name="T77" fmla="*/ 1286 h 2421"/>
                <a:gd name="T78" fmla="*/ 1667 w 4530"/>
                <a:gd name="T79" fmla="*/ 1234 h 2421"/>
                <a:gd name="T80" fmla="*/ 1669 w 4530"/>
                <a:gd name="T81" fmla="*/ 1180 h 2421"/>
                <a:gd name="T82" fmla="*/ 1692 w 4530"/>
                <a:gd name="T83" fmla="*/ 1132 h 2421"/>
                <a:gd name="T84" fmla="*/ 1714 w 4530"/>
                <a:gd name="T85" fmla="*/ 1113 h 2421"/>
                <a:gd name="T86" fmla="*/ 1804 w 4530"/>
                <a:gd name="T87" fmla="*/ 1095 h 2421"/>
                <a:gd name="T88" fmla="*/ 1990 w 4530"/>
                <a:gd name="T89" fmla="*/ 1096 h 2421"/>
                <a:gd name="T90" fmla="*/ 2170 w 4530"/>
                <a:gd name="T91" fmla="*/ 1096 h 2421"/>
                <a:gd name="T92" fmla="*/ 2360 w 4530"/>
                <a:gd name="T93" fmla="*/ 1075 h 2421"/>
                <a:gd name="T94" fmla="*/ 2508 w 4530"/>
                <a:gd name="T95" fmla="*/ 1029 h 2421"/>
                <a:gd name="T96" fmla="*/ 2630 w 4530"/>
                <a:gd name="T97" fmla="*/ 954 h 2421"/>
                <a:gd name="T98" fmla="*/ 2688 w 4530"/>
                <a:gd name="T99" fmla="*/ 903 h 2421"/>
                <a:gd name="T100" fmla="*/ 2758 w 4530"/>
                <a:gd name="T101" fmla="*/ 788 h 2421"/>
                <a:gd name="T102" fmla="*/ 2762 w 4530"/>
                <a:gd name="T103" fmla="*/ 673 h 2421"/>
                <a:gd name="T104" fmla="*/ 2702 w 4530"/>
                <a:gd name="T105" fmla="*/ 571 h 2421"/>
                <a:gd name="T106" fmla="*/ 2614 w 4530"/>
                <a:gd name="T107" fmla="*/ 510 h 2421"/>
                <a:gd name="T108" fmla="*/ 2530 w 4530"/>
                <a:gd name="T109" fmla="*/ 477 h 2421"/>
                <a:gd name="T110" fmla="*/ 2300 w 4530"/>
                <a:gd name="T111" fmla="*/ 466 h 2421"/>
                <a:gd name="T112" fmla="*/ 1844 w 4530"/>
                <a:gd name="T113" fmla="*/ 466 h 2421"/>
                <a:gd name="T114" fmla="*/ 1585 w 4530"/>
                <a:gd name="T115" fmla="*/ 315 h 2421"/>
                <a:gd name="T116" fmla="*/ 1209 w 4530"/>
                <a:gd name="T117" fmla="*/ 128 h 2421"/>
                <a:gd name="T118" fmla="*/ 977 w 4530"/>
                <a:gd name="T119" fmla="*/ 43 h 2421"/>
                <a:gd name="T120" fmla="*/ 843 w 4530"/>
                <a:gd name="T121" fmla="*/ 11 h 2421"/>
                <a:gd name="T122" fmla="*/ 552 w 4530"/>
                <a:gd name="T123" fmla="*/ 0 h 2421"/>
                <a:gd name="T124" fmla="*/ 0 w 4530"/>
                <a:gd name="T125" fmla="*/ 0 h 2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30" h="2421">
                  <a:moveTo>
                    <a:pt x="0" y="898"/>
                  </a:moveTo>
                  <a:lnTo>
                    <a:pt x="0" y="1798"/>
                  </a:lnTo>
                  <a:lnTo>
                    <a:pt x="89" y="1846"/>
                  </a:lnTo>
                  <a:lnTo>
                    <a:pt x="257" y="1935"/>
                  </a:lnTo>
                  <a:lnTo>
                    <a:pt x="625" y="2123"/>
                  </a:lnTo>
                  <a:lnTo>
                    <a:pt x="812" y="2217"/>
                  </a:lnTo>
                  <a:lnTo>
                    <a:pt x="1015" y="2313"/>
                  </a:lnTo>
                  <a:lnTo>
                    <a:pt x="1124" y="2357"/>
                  </a:lnTo>
                  <a:lnTo>
                    <a:pt x="1218" y="2388"/>
                  </a:lnTo>
                  <a:lnTo>
                    <a:pt x="1306" y="2406"/>
                  </a:lnTo>
                  <a:lnTo>
                    <a:pt x="1395" y="2417"/>
                  </a:lnTo>
                  <a:lnTo>
                    <a:pt x="1494" y="2421"/>
                  </a:lnTo>
                  <a:lnTo>
                    <a:pt x="1550" y="2421"/>
                  </a:lnTo>
                  <a:lnTo>
                    <a:pt x="1613" y="2421"/>
                  </a:lnTo>
                  <a:lnTo>
                    <a:pt x="1708" y="2418"/>
                  </a:lnTo>
                  <a:lnTo>
                    <a:pt x="1784" y="2408"/>
                  </a:lnTo>
                  <a:lnTo>
                    <a:pt x="1859" y="2391"/>
                  </a:lnTo>
                  <a:lnTo>
                    <a:pt x="1902" y="2378"/>
                  </a:lnTo>
                  <a:lnTo>
                    <a:pt x="1948" y="2363"/>
                  </a:lnTo>
                  <a:lnTo>
                    <a:pt x="2079" y="2310"/>
                  </a:lnTo>
                  <a:lnTo>
                    <a:pt x="2340" y="2189"/>
                  </a:lnTo>
                  <a:lnTo>
                    <a:pt x="2773" y="1969"/>
                  </a:lnTo>
                  <a:lnTo>
                    <a:pt x="3227" y="1723"/>
                  </a:lnTo>
                  <a:lnTo>
                    <a:pt x="3434" y="1603"/>
                  </a:lnTo>
                  <a:lnTo>
                    <a:pt x="3541" y="1538"/>
                  </a:lnTo>
                  <a:lnTo>
                    <a:pt x="3813" y="1365"/>
                  </a:lnTo>
                  <a:lnTo>
                    <a:pt x="4090" y="1181"/>
                  </a:lnTo>
                  <a:lnTo>
                    <a:pt x="4306" y="1031"/>
                  </a:lnTo>
                  <a:lnTo>
                    <a:pt x="4362" y="988"/>
                  </a:lnTo>
                  <a:lnTo>
                    <a:pt x="4387" y="967"/>
                  </a:lnTo>
                  <a:lnTo>
                    <a:pt x="4432" y="920"/>
                  </a:lnTo>
                  <a:lnTo>
                    <a:pt x="4468" y="869"/>
                  </a:lnTo>
                  <a:lnTo>
                    <a:pt x="4496" y="815"/>
                  </a:lnTo>
                  <a:lnTo>
                    <a:pt x="4516" y="758"/>
                  </a:lnTo>
                  <a:lnTo>
                    <a:pt x="4528" y="699"/>
                  </a:lnTo>
                  <a:lnTo>
                    <a:pt x="4530" y="639"/>
                  </a:lnTo>
                  <a:lnTo>
                    <a:pt x="4524" y="579"/>
                  </a:lnTo>
                  <a:lnTo>
                    <a:pt x="4517" y="550"/>
                  </a:lnTo>
                  <a:lnTo>
                    <a:pt x="4511" y="530"/>
                  </a:lnTo>
                  <a:lnTo>
                    <a:pt x="4494" y="492"/>
                  </a:lnTo>
                  <a:lnTo>
                    <a:pt x="4469" y="453"/>
                  </a:lnTo>
                  <a:lnTo>
                    <a:pt x="4433" y="412"/>
                  </a:lnTo>
                  <a:lnTo>
                    <a:pt x="4410" y="390"/>
                  </a:lnTo>
                  <a:lnTo>
                    <a:pt x="4372" y="354"/>
                  </a:lnTo>
                  <a:lnTo>
                    <a:pt x="4315" y="315"/>
                  </a:lnTo>
                  <a:lnTo>
                    <a:pt x="4275" y="295"/>
                  </a:lnTo>
                  <a:lnTo>
                    <a:pt x="4234" y="281"/>
                  </a:lnTo>
                  <a:lnTo>
                    <a:pt x="4190" y="272"/>
                  </a:lnTo>
                  <a:lnTo>
                    <a:pt x="4118" y="267"/>
                  </a:lnTo>
                  <a:lnTo>
                    <a:pt x="4062" y="270"/>
                  </a:lnTo>
                  <a:lnTo>
                    <a:pt x="4028" y="273"/>
                  </a:lnTo>
                  <a:lnTo>
                    <a:pt x="3952" y="294"/>
                  </a:lnTo>
                  <a:lnTo>
                    <a:pt x="3830" y="346"/>
                  </a:lnTo>
                  <a:lnTo>
                    <a:pt x="3628" y="444"/>
                  </a:lnTo>
                  <a:lnTo>
                    <a:pt x="3480" y="518"/>
                  </a:lnTo>
                  <a:lnTo>
                    <a:pt x="3004" y="756"/>
                  </a:lnTo>
                  <a:lnTo>
                    <a:pt x="2949" y="881"/>
                  </a:lnTo>
                  <a:lnTo>
                    <a:pt x="2934" y="914"/>
                  </a:lnTo>
                  <a:lnTo>
                    <a:pt x="2902" y="973"/>
                  </a:lnTo>
                  <a:lnTo>
                    <a:pt x="2866" y="1026"/>
                  </a:lnTo>
                  <a:lnTo>
                    <a:pt x="2825" y="1076"/>
                  </a:lnTo>
                  <a:lnTo>
                    <a:pt x="2800" y="1101"/>
                  </a:lnTo>
                  <a:lnTo>
                    <a:pt x="2768" y="1133"/>
                  </a:lnTo>
                  <a:lnTo>
                    <a:pt x="2703" y="1186"/>
                  </a:lnTo>
                  <a:lnTo>
                    <a:pt x="2632" y="1231"/>
                  </a:lnTo>
                  <a:lnTo>
                    <a:pt x="2553" y="1266"/>
                  </a:lnTo>
                  <a:lnTo>
                    <a:pt x="2464" y="1294"/>
                  </a:lnTo>
                  <a:lnTo>
                    <a:pt x="2361" y="1315"/>
                  </a:lnTo>
                  <a:lnTo>
                    <a:pt x="2242" y="1330"/>
                  </a:lnTo>
                  <a:lnTo>
                    <a:pt x="2104" y="1340"/>
                  </a:lnTo>
                  <a:lnTo>
                    <a:pt x="2025" y="1343"/>
                  </a:lnTo>
                  <a:lnTo>
                    <a:pt x="1937" y="1346"/>
                  </a:lnTo>
                  <a:lnTo>
                    <a:pt x="1823" y="1349"/>
                  </a:lnTo>
                  <a:lnTo>
                    <a:pt x="1763" y="1344"/>
                  </a:lnTo>
                  <a:lnTo>
                    <a:pt x="1729" y="1330"/>
                  </a:lnTo>
                  <a:lnTo>
                    <a:pt x="1714" y="1318"/>
                  </a:lnTo>
                  <a:lnTo>
                    <a:pt x="1703" y="1309"/>
                  </a:lnTo>
                  <a:lnTo>
                    <a:pt x="1686" y="1286"/>
                  </a:lnTo>
                  <a:lnTo>
                    <a:pt x="1673" y="1261"/>
                  </a:lnTo>
                  <a:lnTo>
                    <a:pt x="1667" y="1234"/>
                  </a:lnTo>
                  <a:lnTo>
                    <a:pt x="1665" y="1207"/>
                  </a:lnTo>
                  <a:lnTo>
                    <a:pt x="1669" y="1180"/>
                  </a:lnTo>
                  <a:lnTo>
                    <a:pt x="1678" y="1155"/>
                  </a:lnTo>
                  <a:lnTo>
                    <a:pt x="1692" y="1132"/>
                  </a:lnTo>
                  <a:lnTo>
                    <a:pt x="1702" y="1123"/>
                  </a:lnTo>
                  <a:lnTo>
                    <a:pt x="1714" y="1113"/>
                  </a:lnTo>
                  <a:lnTo>
                    <a:pt x="1745" y="1100"/>
                  </a:lnTo>
                  <a:lnTo>
                    <a:pt x="1804" y="1095"/>
                  </a:lnTo>
                  <a:lnTo>
                    <a:pt x="1910" y="1095"/>
                  </a:lnTo>
                  <a:lnTo>
                    <a:pt x="1990" y="1096"/>
                  </a:lnTo>
                  <a:lnTo>
                    <a:pt x="2055" y="1098"/>
                  </a:lnTo>
                  <a:lnTo>
                    <a:pt x="2170" y="1096"/>
                  </a:lnTo>
                  <a:lnTo>
                    <a:pt x="2271" y="1088"/>
                  </a:lnTo>
                  <a:lnTo>
                    <a:pt x="2360" y="1075"/>
                  </a:lnTo>
                  <a:lnTo>
                    <a:pt x="2438" y="1056"/>
                  </a:lnTo>
                  <a:lnTo>
                    <a:pt x="2508" y="1029"/>
                  </a:lnTo>
                  <a:lnTo>
                    <a:pt x="2572" y="996"/>
                  </a:lnTo>
                  <a:lnTo>
                    <a:pt x="2630" y="954"/>
                  </a:lnTo>
                  <a:lnTo>
                    <a:pt x="2659" y="930"/>
                  </a:lnTo>
                  <a:lnTo>
                    <a:pt x="2688" y="903"/>
                  </a:lnTo>
                  <a:lnTo>
                    <a:pt x="2731" y="846"/>
                  </a:lnTo>
                  <a:lnTo>
                    <a:pt x="2758" y="788"/>
                  </a:lnTo>
                  <a:lnTo>
                    <a:pt x="2768" y="730"/>
                  </a:lnTo>
                  <a:lnTo>
                    <a:pt x="2762" y="673"/>
                  </a:lnTo>
                  <a:lnTo>
                    <a:pt x="2740" y="620"/>
                  </a:lnTo>
                  <a:lnTo>
                    <a:pt x="2702" y="571"/>
                  </a:lnTo>
                  <a:lnTo>
                    <a:pt x="2647" y="528"/>
                  </a:lnTo>
                  <a:lnTo>
                    <a:pt x="2614" y="510"/>
                  </a:lnTo>
                  <a:lnTo>
                    <a:pt x="2584" y="495"/>
                  </a:lnTo>
                  <a:lnTo>
                    <a:pt x="2530" y="477"/>
                  </a:lnTo>
                  <a:lnTo>
                    <a:pt x="2448" y="469"/>
                  </a:lnTo>
                  <a:lnTo>
                    <a:pt x="2300" y="466"/>
                  </a:lnTo>
                  <a:lnTo>
                    <a:pt x="2185" y="466"/>
                  </a:lnTo>
                  <a:lnTo>
                    <a:pt x="1844" y="466"/>
                  </a:lnTo>
                  <a:lnTo>
                    <a:pt x="1677" y="368"/>
                  </a:lnTo>
                  <a:lnTo>
                    <a:pt x="1585" y="315"/>
                  </a:lnTo>
                  <a:lnTo>
                    <a:pt x="1394" y="214"/>
                  </a:lnTo>
                  <a:lnTo>
                    <a:pt x="1209" y="128"/>
                  </a:lnTo>
                  <a:lnTo>
                    <a:pt x="1045" y="64"/>
                  </a:lnTo>
                  <a:lnTo>
                    <a:pt x="977" y="43"/>
                  </a:lnTo>
                  <a:lnTo>
                    <a:pt x="928" y="29"/>
                  </a:lnTo>
                  <a:lnTo>
                    <a:pt x="843" y="11"/>
                  </a:lnTo>
                  <a:lnTo>
                    <a:pt x="733" y="2"/>
                  </a:lnTo>
                  <a:lnTo>
                    <a:pt x="552" y="0"/>
                  </a:lnTo>
                  <a:lnTo>
                    <a:pt x="415" y="0"/>
                  </a:lnTo>
                  <a:lnTo>
                    <a:pt x="0" y="0"/>
                  </a:lnTo>
                  <a:lnTo>
                    <a:pt x="0" y="89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78" name="Group 24"/>
          <p:cNvGrpSpPr>
            <a:grpSpLocks noChangeAspect="1"/>
          </p:cNvGrpSpPr>
          <p:nvPr/>
        </p:nvGrpSpPr>
        <p:grpSpPr bwMode="auto">
          <a:xfrm>
            <a:off x="9001628" y="4453106"/>
            <a:ext cx="617535" cy="644074"/>
            <a:chOff x="3900" y="891"/>
            <a:chExt cx="2121" cy="2120"/>
          </a:xfrm>
        </p:grpSpPr>
        <p:sp>
          <p:nvSpPr>
            <p:cNvPr id="79" name="AutoShape 23"/>
            <p:cNvSpPr>
              <a:spLocks noChangeAspect="1" noChangeArrowheads="1" noTextEdit="1"/>
            </p:cNvSpPr>
            <p:nvPr/>
          </p:nvSpPr>
          <p:spPr bwMode="auto">
            <a:xfrm>
              <a:off x="3900" y="891"/>
              <a:ext cx="2121" cy="21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0" name="Freeform 25"/>
            <p:cNvSpPr>
              <a:spLocks noEditPoints="1"/>
            </p:cNvSpPr>
            <p:nvPr/>
          </p:nvSpPr>
          <p:spPr bwMode="auto">
            <a:xfrm>
              <a:off x="4200" y="1054"/>
              <a:ext cx="1502" cy="1786"/>
            </a:xfrm>
            <a:custGeom>
              <a:avLst/>
              <a:gdLst>
                <a:gd name="T0" fmla="*/ 27 w 4750"/>
                <a:gd name="T1" fmla="*/ 36 h 5650"/>
                <a:gd name="T2" fmla="*/ 22 w 4750"/>
                <a:gd name="T3" fmla="*/ 45 h 5650"/>
                <a:gd name="T4" fmla="*/ 15 w 4750"/>
                <a:gd name="T5" fmla="*/ 92 h 5650"/>
                <a:gd name="T6" fmla="*/ 8 w 4750"/>
                <a:gd name="T7" fmla="*/ 268 h 5650"/>
                <a:gd name="T8" fmla="*/ 0 w 4750"/>
                <a:gd name="T9" fmla="*/ 1246 h 5650"/>
                <a:gd name="T10" fmla="*/ 0 w 4750"/>
                <a:gd name="T11" fmla="*/ 2818 h 5650"/>
                <a:gd name="T12" fmla="*/ 0 w 4750"/>
                <a:gd name="T13" fmla="*/ 5563 h 5650"/>
                <a:gd name="T14" fmla="*/ 52 w 4750"/>
                <a:gd name="T15" fmla="*/ 5606 h 5650"/>
                <a:gd name="T16" fmla="*/ 103 w 4750"/>
                <a:gd name="T17" fmla="*/ 5650 h 5650"/>
                <a:gd name="T18" fmla="*/ 2132 w 4750"/>
                <a:gd name="T19" fmla="*/ 5650 h 5650"/>
                <a:gd name="T20" fmla="*/ 3037 w 4750"/>
                <a:gd name="T21" fmla="*/ 5649 h 5650"/>
                <a:gd name="T22" fmla="*/ 3907 w 4750"/>
                <a:gd name="T23" fmla="*/ 5643 h 5650"/>
                <a:gd name="T24" fmla="*/ 4207 w 4750"/>
                <a:gd name="T25" fmla="*/ 5637 h 5650"/>
                <a:gd name="T26" fmla="*/ 4250 w 4750"/>
                <a:gd name="T27" fmla="*/ 5633 h 5650"/>
                <a:gd name="T28" fmla="*/ 4298 w 4750"/>
                <a:gd name="T29" fmla="*/ 5623 h 5650"/>
                <a:gd name="T30" fmla="*/ 4386 w 4750"/>
                <a:gd name="T31" fmla="*/ 5594 h 5650"/>
                <a:gd name="T32" fmla="*/ 4466 w 4750"/>
                <a:gd name="T33" fmla="*/ 5555 h 5650"/>
                <a:gd name="T34" fmla="*/ 4536 w 4750"/>
                <a:gd name="T35" fmla="*/ 5506 h 5650"/>
                <a:gd name="T36" fmla="*/ 4597 w 4750"/>
                <a:gd name="T37" fmla="*/ 5447 h 5650"/>
                <a:gd name="T38" fmla="*/ 4649 w 4750"/>
                <a:gd name="T39" fmla="*/ 5379 h 5650"/>
                <a:gd name="T40" fmla="*/ 4690 w 4750"/>
                <a:gd name="T41" fmla="*/ 5301 h 5650"/>
                <a:gd name="T42" fmla="*/ 4721 w 4750"/>
                <a:gd name="T43" fmla="*/ 5216 h 5650"/>
                <a:gd name="T44" fmla="*/ 4732 w 4750"/>
                <a:gd name="T45" fmla="*/ 5170 h 5650"/>
                <a:gd name="T46" fmla="*/ 4736 w 4750"/>
                <a:gd name="T47" fmla="*/ 5125 h 5650"/>
                <a:gd name="T48" fmla="*/ 4743 w 4750"/>
                <a:gd name="T49" fmla="*/ 4807 h 5650"/>
                <a:gd name="T50" fmla="*/ 4749 w 4750"/>
                <a:gd name="T51" fmla="*/ 3789 h 5650"/>
                <a:gd name="T52" fmla="*/ 4750 w 4750"/>
                <a:gd name="T53" fmla="*/ 2578 h 5650"/>
                <a:gd name="T54" fmla="*/ 4750 w 4750"/>
                <a:gd name="T55" fmla="*/ 1144 h 5650"/>
                <a:gd name="T56" fmla="*/ 4742 w 4750"/>
                <a:gd name="T57" fmla="*/ 251 h 5650"/>
                <a:gd name="T58" fmla="*/ 4735 w 4750"/>
                <a:gd name="T59" fmla="*/ 89 h 5650"/>
                <a:gd name="T60" fmla="*/ 4728 w 4750"/>
                <a:gd name="T61" fmla="*/ 44 h 5650"/>
                <a:gd name="T62" fmla="*/ 4723 w 4750"/>
                <a:gd name="T63" fmla="*/ 36 h 5650"/>
                <a:gd name="T64" fmla="*/ 4698 w 4750"/>
                <a:gd name="T65" fmla="*/ 0 h 5650"/>
                <a:gd name="T66" fmla="*/ 2375 w 4750"/>
                <a:gd name="T67" fmla="*/ 0 h 5650"/>
                <a:gd name="T68" fmla="*/ 52 w 4750"/>
                <a:gd name="T69" fmla="*/ 0 h 5650"/>
                <a:gd name="T70" fmla="*/ 27 w 4750"/>
                <a:gd name="T71" fmla="*/ 36 h 5650"/>
                <a:gd name="T72" fmla="*/ 4567 w 4750"/>
                <a:gd name="T73" fmla="*/ 2625 h 5650"/>
                <a:gd name="T74" fmla="*/ 4566 w 4750"/>
                <a:gd name="T75" fmla="*/ 3770 h 5650"/>
                <a:gd name="T76" fmla="*/ 4560 w 4750"/>
                <a:gd name="T77" fmla="*/ 4778 h 5650"/>
                <a:gd name="T78" fmla="*/ 4553 w 4750"/>
                <a:gd name="T79" fmla="*/ 5104 h 5650"/>
                <a:gd name="T80" fmla="*/ 4548 w 4750"/>
                <a:gd name="T81" fmla="*/ 5148 h 5650"/>
                <a:gd name="T82" fmla="*/ 4543 w 4750"/>
                <a:gd name="T83" fmla="*/ 5171 h 5650"/>
                <a:gd name="T84" fmla="*/ 4529 w 4750"/>
                <a:gd name="T85" fmla="*/ 5213 h 5650"/>
                <a:gd name="T86" fmla="*/ 4511 w 4750"/>
                <a:gd name="T87" fmla="*/ 5253 h 5650"/>
                <a:gd name="T88" fmla="*/ 4489 w 4750"/>
                <a:gd name="T89" fmla="*/ 5289 h 5650"/>
                <a:gd name="T90" fmla="*/ 4462 w 4750"/>
                <a:gd name="T91" fmla="*/ 5322 h 5650"/>
                <a:gd name="T92" fmla="*/ 4431 w 4750"/>
                <a:gd name="T93" fmla="*/ 5353 h 5650"/>
                <a:gd name="T94" fmla="*/ 4396 w 4750"/>
                <a:gd name="T95" fmla="*/ 5379 h 5650"/>
                <a:gd name="T96" fmla="*/ 4358 w 4750"/>
                <a:gd name="T97" fmla="*/ 5403 h 5650"/>
                <a:gd name="T98" fmla="*/ 4337 w 4750"/>
                <a:gd name="T99" fmla="*/ 5413 h 5650"/>
                <a:gd name="T100" fmla="*/ 4242 w 4750"/>
                <a:gd name="T101" fmla="*/ 5458 h 5650"/>
                <a:gd name="T102" fmla="*/ 2213 w 4750"/>
                <a:gd name="T103" fmla="*/ 5463 h 5650"/>
                <a:gd name="T104" fmla="*/ 183 w 4750"/>
                <a:gd name="T105" fmla="*/ 5466 h 5650"/>
                <a:gd name="T106" fmla="*/ 183 w 4750"/>
                <a:gd name="T107" fmla="*/ 2825 h 5650"/>
                <a:gd name="T108" fmla="*/ 183 w 4750"/>
                <a:gd name="T109" fmla="*/ 183 h 5650"/>
                <a:gd name="T110" fmla="*/ 2375 w 4750"/>
                <a:gd name="T111" fmla="*/ 183 h 5650"/>
                <a:gd name="T112" fmla="*/ 4567 w 4750"/>
                <a:gd name="T113" fmla="*/ 183 h 5650"/>
                <a:gd name="T114" fmla="*/ 4567 w 4750"/>
                <a:gd name="T115" fmla="*/ 2625 h 5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50" h="5650">
                  <a:moveTo>
                    <a:pt x="27" y="36"/>
                  </a:moveTo>
                  <a:lnTo>
                    <a:pt x="22" y="45"/>
                  </a:lnTo>
                  <a:lnTo>
                    <a:pt x="15" y="92"/>
                  </a:lnTo>
                  <a:lnTo>
                    <a:pt x="8" y="268"/>
                  </a:lnTo>
                  <a:lnTo>
                    <a:pt x="0" y="1246"/>
                  </a:lnTo>
                  <a:lnTo>
                    <a:pt x="0" y="2818"/>
                  </a:lnTo>
                  <a:lnTo>
                    <a:pt x="0" y="5563"/>
                  </a:lnTo>
                  <a:lnTo>
                    <a:pt x="52" y="5606"/>
                  </a:lnTo>
                  <a:lnTo>
                    <a:pt x="103" y="5650"/>
                  </a:lnTo>
                  <a:lnTo>
                    <a:pt x="2132" y="5650"/>
                  </a:lnTo>
                  <a:lnTo>
                    <a:pt x="3037" y="5649"/>
                  </a:lnTo>
                  <a:lnTo>
                    <a:pt x="3907" y="5643"/>
                  </a:lnTo>
                  <a:lnTo>
                    <a:pt x="4207" y="5637"/>
                  </a:lnTo>
                  <a:lnTo>
                    <a:pt x="4250" y="5633"/>
                  </a:lnTo>
                  <a:lnTo>
                    <a:pt x="4298" y="5623"/>
                  </a:lnTo>
                  <a:lnTo>
                    <a:pt x="4386" y="5594"/>
                  </a:lnTo>
                  <a:lnTo>
                    <a:pt x="4466" y="5555"/>
                  </a:lnTo>
                  <a:lnTo>
                    <a:pt x="4536" y="5506"/>
                  </a:lnTo>
                  <a:lnTo>
                    <a:pt x="4597" y="5447"/>
                  </a:lnTo>
                  <a:lnTo>
                    <a:pt x="4649" y="5379"/>
                  </a:lnTo>
                  <a:lnTo>
                    <a:pt x="4690" y="5301"/>
                  </a:lnTo>
                  <a:lnTo>
                    <a:pt x="4721" y="5216"/>
                  </a:lnTo>
                  <a:lnTo>
                    <a:pt x="4732" y="5170"/>
                  </a:lnTo>
                  <a:lnTo>
                    <a:pt x="4736" y="5125"/>
                  </a:lnTo>
                  <a:lnTo>
                    <a:pt x="4743" y="4807"/>
                  </a:lnTo>
                  <a:lnTo>
                    <a:pt x="4749" y="3789"/>
                  </a:lnTo>
                  <a:lnTo>
                    <a:pt x="4750" y="2578"/>
                  </a:lnTo>
                  <a:lnTo>
                    <a:pt x="4750" y="1144"/>
                  </a:lnTo>
                  <a:lnTo>
                    <a:pt x="4742" y="251"/>
                  </a:lnTo>
                  <a:lnTo>
                    <a:pt x="4735" y="89"/>
                  </a:lnTo>
                  <a:lnTo>
                    <a:pt x="4728" y="44"/>
                  </a:lnTo>
                  <a:lnTo>
                    <a:pt x="4723" y="36"/>
                  </a:lnTo>
                  <a:lnTo>
                    <a:pt x="4698" y="0"/>
                  </a:lnTo>
                  <a:lnTo>
                    <a:pt x="2375" y="0"/>
                  </a:lnTo>
                  <a:lnTo>
                    <a:pt x="52" y="0"/>
                  </a:lnTo>
                  <a:lnTo>
                    <a:pt x="27" y="36"/>
                  </a:lnTo>
                  <a:close/>
                  <a:moveTo>
                    <a:pt x="4567" y="2625"/>
                  </a:moveTo>
                  <a:lnTo>
                    <a:pt x="4566" y="3770"/>
                  </a:lnTo>
                  <a:lnTo>
                    <a:pt x="4560" y="4778"/>
                  </a:lnTo>
                  <a:lnTo>
                    <a:pt x="4553" y="5104"/>
                  </a:lnTo>
                  <a:lnTo>
                    <a:pt x="4548" y="5148"/>
                  </a:lnTo>
                  <a:lnTo>
                    <a:pt x="4543" y="5171"/>
                  </a:lnTo>
                  <a:lnTo>
                    <a:pt x="4529" y="5213"/>
                  </a:lnTo>
                  <a:lnTo>
                    <a:pt x="4511" y="5253"/>
                  </a:lnTo>
                  <a:lnTo>
                    <a:pt x="4489" y="5289"/>
                  </a:lnTo>
                  <a:lnTo>
                    <a:pt x="4462" y="5322"/>
                  </a:lnTo>
                  <a:lnTo>
                    <a:pt x="4431" y="5353"/>
                  </a:lnTo>
                  <a:lnTo>
                    <a:pt x="4396" y="5379"/>
                  </a:lnTo>
                  <a:lnTo>
                    <a:pt x="4358" y="5403"/>
                  </a:lnTo>
                  <a:lnTo>
                    <a:pt x="4337" y="5413"/>
                  </a:lnTo>
                  <a:lnTo>
                    <a:pt x="4242" y="5458"/>
                  </a:lnTo>
                  <a:lnTo>
                    <a:pt x="2213" y="5463"/>
                  </a:lnTo>
                  <a:lnTo>
                    <a:pt x="183" y="5466"/>
                  </a:lnTo>
                  <a:lnTo>
                    <a:pt x="183" y="2825"/>
                  </a:lnTo>
                  <a:lnTo>
                    <a:pt x="183" y="183"/>
                  </a:lnTo>
                  <a:lnTo>
                    <a:pt x="2375" y="183"/>
                  </a:lnTo>
                  <a:lnTo>
                    <a:pt x="4567" y="183"/>
                  </a:lnTo>
                  <a:lnTo>
                    <a:pt x="4567" y="26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1" name="Freeform 26"/>
            <p:cNvSpPr>
              <a:spLocks/>
            </p:cNvSpPr>
            <p:nvPr/>
          </p:nvSpPr>
          <p:spPr bwMode="auto">
            <a:xfrm>
              <a:off x="4417" y="1197"/>
              <a:ext cx="273" cy="57"/>
            </a:xfrm>
            <a:custGeom>
              <a:avLst/>
              <a:gdLst>
                <a:gd name="T0" fmla="*/ 32 w 863"/>
                <a:gd name="T1" fmla="*/ 33 h 183"/>
                <a:gd name="T2" fmla="*/ 17 w 863"/>
                <a:gd name="T3" fmla="*/ 49 h 183"/>
                <a:gd name="T4" fmla="*/ 1 w 863"/>
                <a:gd name="T5" fmla="*/ 81 h 183"/>
                <a:gd name="T6" fmla="*/ 0 w 863"/>
                <a:gd name="T7" fmla="*/ 112 h 183"/>
                <a:gd name="T8" fmla="*/ 15 w 863"/>
                <a:gd name="T9" fmla="*/ 141 h 183"/>
                <a:gd name="T10" fmla="*/ 28 w 863"/>
                <a:gd name="T11" fmla="*/ 155 h 183"/>
                <a:gd name="T12" fmla="*/ 39 w 863"/>
                <a:gd name="T13" fmla="*/ 163 h 183"/>
                <a:gd name="T14" fmla="*/ 81 w 863"/>
                <a:gd name="T15" fmla="*/ 175 h 183"/>
                <a:gd name="T16" fmla="*/ 225 w 863"/>
                <a:gd name="T17" fmla="*/ 183 h 183"/>
                <a:gd name="T18" fmla="*/ 437 w 863"/>
                <a:gd name="T19" fmla="*/ 183 h 183"/>
                <a:gd name="T20" fmla="*/ 644 w 863"/>
                <a:gd name="T21" fmla="*/ 183 h 183"/>
                <a:gd name="T22" fmla="*/ 788 w 863"/>
                <a:gd name="T23" fmla="*/ 175 h 183"/>
                <a:gd name="T24" fmla="*/ 829 w 863"/>
                <a:gd name="T25" fmla="*/ 164 h 183"/>
                <a:gd name="T26" fmla="*/ 838 w 863"/>
                <a:gd name="T27" fmla="*/ 156 h 183"/>
                <a:gd name="T28" fmla="*/ 851 w 863"/>
                <a:gd name="T29" fmla="*/ 143 h 183"/>
                <a:gd name="T30" fmla="*/ 863 w 863"/>
                <a:gd name="T31" fmla="*/ 113 h 183"/>
                <a:gd name="T32" fmla="*/ 862 w 863"/>
                <a:gd name="T33" fmla="*/ 80 h 183"/>
                <a:gd name="T34" fmla="*/ 846 w 863"/>
                <a:gd name="T35" fmla="*/ 48 h 183"/>
                <a:gd name="T36" fmla="*/ 832 w 863"/>
                <a:gd name="T37" fmla="*/ 33 h 183"/>
                <a:gd name="T38" fmla="*/ 820 w 863"/>
                <a:gd name="T39" fmla="*/ 22 h 183"/>
                <a:gd name="T40" fmla="*/ 784 w 863"/>
                <a:gd name="T41" fmla="*/ 8 h 183"/>
                <a:gd name="T42" fmla="*/ 650 w 863"/>
                <a:gd name="T43" fmla="*/ 0 h 183"/>
                <a:gd name="T44" fmla="*/ 432 w 863"/>
                <a:gd name="T45" fmla="*/ 0 h 183"/>
                <a:gd name="T46" fmla="*/ 213 w 863"/>
                <a:gd name="T47" fmla="*/ 0 h 183"/>
                <a:gd name="T48" fmla="*/ 79 w 863"/>
                <a:gd name="T49" fmla="*/ 8 h 183"/>
                <a:gd name="T50" fmla="*/ 43 w 863"/>
                <a:gd name="T51" fmla="*/ 22 h 183"/>
                <a:gd name="T52" fmla="*/ 32 w 863"/>
                <a:gd name="T53" fmla="*/ 3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63" h="183">
                  <a:moveTo>
                    <a:pt x="32" y="33"/>
                  </a:moveTo>
                  <a:lnTo>
                    <a:pt x="17" y="49"/>
                  </a:lnTo>
                  <a:lnTo>
                    <a:pt x="1" y="81"/>
                  </a:lnTo>
                  <a:lnTo>
                    <a:pt x="0" y="112"/>
                  </a:lnTo>
                  <a:lnTo>
                    <a:pt x="15" y="141"/>
                  </a:lnTo>
                  <a:lnTo>
                    <a:pt x="28" y="155"/>
                  </a:lnTo>
                  <a:lnTo>
                    <a:pt x="39" y="163"/>
                  </a:lnTo>
                  <a:lnTo>
                    <a:pt x="81" y="175"/>
                  </a:lnTo>
                  <a:lnTo>
                    <a:pt x="225" y="183"/>
                  </a:lnTo>
                  <a:lnTo>
                    <a:pt x="437" y="183"/>
                  </a:lnTo>
                  <a:lnTo>
                    <a:pt x="644" y="183"/>
                  </a:lnTo>
                  <a:lnTo>
                    <a:pt x="788" y="175"/>
                  </a:lnTo>
                  <a:lnTo>
                    <a:pt x="829" y="164"/>
                  </a:lnTo>
                  <a:lnTo>
                    <a:pt x="838" y="156"/>
                  </a:lnTo>
                  <a:lnTo>
                    <a:pt x="851" y="143"/>
                  </a:lnTo>
                  <a:lnTo>
                    <a:pt x="863" y="113"/>
                  </a:lnTo>
                  <a:lnTo>
                    <a:pt x="862" y="80"/>
                  </a:lnTo>
                  <a:lnTo>
                    <a:pt x="846" y="48"/>
                  </a:lnTo>
                  <a:lnTo>
                    <a:pt x="832" y="33"/>
                  </a:lnTo>
                  <a:lnTo>
                    <a:pt x="820" y="22"/>
                  </a:lnTo>
                  <a:lnTo>
                    <a:pt x="784" y="8"/>
                  </a:lnTo>
                  <a:lnTo>
                    <a:pt x="650" y="0"/>
                  </a:lnTo>
                  <a:lnTo>
                    <a:pt x="432" y="0"/>
                  </a:lnTo>
                  <a:lnTo>
                    <a:pt x="213" y="0"/>
                  </a:lnTo>
                  <a:lnTo>
                    <a:pt x="79" y="8"/>
                  </a:lnTo>
                  <a:lnTo>
                    <a:pt x="43" y="22"/>
                  </a:lnTo>
                  <a:lnTo>
                    <a:pt x="32" y="33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2" name="Freeform 27"/>
            <p:cNvSpPr>
              <a:spLocks noEditPoints="1"/>
            </p:cNvSpPr>
            <p:nvPr/>
          </p:nvSpPr>
          <p:spPr bwMode="auto">
            <a:xfrm>
              <a:off x="5217" y="1262"/>
              <a:ext cx="283" cy="272"/>
            </a:xfrm>
            <a:custGeom>
              <a:avLst/>
              <a:gdLst>
                <a:gd name="T0" fmla="*/ 8 w 898"/>
                <a:gd name="T1" fmla="*/ 21 h 861"/>
                <a:gd name="T2" fmla="*/ 0 w 898"/>
                <a:gd name="T3" fmla="*/ 210 h 861"/>
                <a:gd name="T4" fmla="*/ 22 w 898"/>
                <a:gd name="T5" fmla="*/ 603 h 861"/>
                <a:gd name="T6" fmla="*/ 44 w 898"/>
                <a:gd name="T7" fmla="*/ 850 h 861"/>
                <a:gd name="T8" fmla="*/ 57 w 898"/>
                <a:gd name="T9" fmla="*/ 861 h 861"/>
                <a:gd name="T10" fmla="*/ 315 w 898"/>
                <a:gd name="T11" fmla="*/ 850 h 861"/>
                <a:gd name="T12" fmla="*/ 810 w 898"/>
                <a:gd name="T13" fmla="*/ 807 h 861"/>
                <a:gd name="T14" fmla="*/ 891 w 898"/>
                <a:gd name="T15" fmla="*/ 793 h 861"/>
                <a:gd name="T16" fmla="*/ 898 w 898"/>
                <a:gd name="T17" fmla="*/ 766 h 861"/>
                <a:gd name="T18" fmla="*/ 871 w 898"/>
                <a:gd name="T19" fmla="*/ 624 h 861"/>
                <a:gd name="T20" fmla="*/ 816 w 898"/>
                <a:gd name="T21" fmla="*/ 478 h 861"/>
                <a:gd name="T22" fmla="*/ 748 w 898"/>
                <a:gd name="T23" fmla="*/ 364 h 861"/>
                <a:gd name="T24" fmla="*/ 622 w 898"/>
                <a:gd name="T25" fmla="*/ 224 h 861"/>
                <a:gd name="T26" fmla="*/ 471 w 898"/>
                <a:gd name="T27" fmla="*/ 111 h 861"/>
                <a:gd name="T28" fmla="*/ 309 w 898"/>
                <a:gd name="T29" fmla="*/ 37 h 861"/>
                <a:gd name="T30" fmla="*/ 221 w 898"/>
                <a:gd name="T31" fmla="*/ 16 h 861"/>
                <a:gd name="T32" fmla="*/ 72 w 898"/>
                <a:gd name="T33" fmla="*/ 0 h 861"/>
                <a:gd name="T34" fmla="*/ 16 w 898"/>
                <a:gd name="T35" fmla="*/ 13 h 861"/>
                <a:gd name="T36" fmla="*/ 272 w 898"/>
                <a:gd name="T37" fmla="*/ 86 h 861"/>
                <a:gd name="T38" fmla="*/ 418 w 898"/>
                <a:gd name="T39" fmla="*/ 148 h 861"/>
                <a:gd name="T40" fmla="*/ 556 w 898"/>
                <a:gd name="T41" fmla="*/ 241 h 861"/>
                <a:gd name="T42" fmla="*/ 673 w 898"/>
                <a:gd name="T43" fmla="*/ 357 h 861"/>
                <a:gd name="T44" fmla="*/ 739 w 898"/>
                <a:gd name="T45" fmla="*/ 453 h 861"/>
                <a:gd name="T46" fmla="*/ 792 w 898"/>
                <a:gd name="T47" fmla="*/ 575 h 861"/>
                <a:gd name="T48" fmla="*/ 835 w 898"/>
                <a:gd name="T49" fmla="*/ 723 h 861"/>
                <a:gd name="T50" fmla="*/ 834 w 898"/>
                <a:gd name="T51" fmla="*/ 748 h 861"/>
                <a:gd name="T52" fmla="*/ 668 w 898"/>
                <a:gd name="T53" fmla="*/ 766 h 861"/>
                <a:gd name="T54" fmla="*/ 332 w 898"/>
                <a:gd name="T55" fmla="*/ 790 h 861"/>
                <a:gd name="T56" fmla="*/ 91 w 898"/>
                <a:gd name="T57" fmla="*/ 812 h 861"/>
                <a:gd name="T58" fmla="*/ 69 w 898"/>
                <a:gd name="T59" fmla="*/ 421 h 861"/>
                <a:gd name="T60" fmla="*/ 48 w 898"/>
                <a:gd name="T61" fmla="*/ 58 h 861"/>
                <a:gd name="T62" fmla="*/ 131 w 898"/>
                <a:gd name="T63" fmla="*/ 59 h 861"/>
                <a:gd name="T64" fmla="*/ 236 w 898"/>
                <a:gd name="T65" fmla="*/ 77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98" h="861">
                  <a:moveTo>
                    <a:pt x="16" y="13"/>
                  </a:moveTo>
                  <a:lnTo>
                    <a:pt x="8" y="21"/>
                  </a:lnTo>
                  <a:lnTo>
                    <a:pt x="0" y="60"/>
                  </a:lnTo>
                  <a:lnTo>
                    <a:pt x="0" y="210"/>
                  </a:lnTo>
                  <a:lnTo>
                    <a:pt x="13" y="440"/>
                  </a:lnTo>
                  <a:lnTo>
                    <a:pt x="22" y="603"/>
                  </a:lnTo>
                  <a:lnTo>
                    <a:pt x="36" y="784"/>
                  </a:lnTo>
                  <a:lnTo>
                    <a:pt x="44" y="850"/>
                  </a:lnTo>
                  <a:lnTo>
                    <a:pt x="48" y="858"/>
                  </a:lnTo>
                  <a:lnTo>
                    <a:pt x="57" y="861"/>
                  </a:lnTo>
                  <a:lnTo>
                    <a:pt x="129" y="860"/>
                  </a:lnTo>
                  <a:lnTo>
                    <a:pt x="315" y="850"/>
                  </a:lnTo>
                  <a:lnTo>
                    <a:pt x="624" y="826"/>
                  </a:lnTo>
                  <a:lnTo>
                    <a:pt x="810" y="807"/>
                  </a:lnTo>
                  <a:lnTo>
                    <a:pt x="881" y="797"/>
                  </a:lnTo>
                  <a:lnTo>
                    <a:pt x="891" y="793"/>
                  </a:lnTo>
                  <a:lnTo>
                    <a:pt x="895" y="788"/>
                  </a:lnTo>
                  <a:lnTo>
                    <a:pt x="898" y="766"/>
                  </a:lnTo>
                  <a:lnTo>
                    <a:pt x="893" y="716"/>
                  </a:lnTo>
                  <a:lnTo>
                    <a:pt x="871" y="624"/>
                  </a:lnTo>
                  <a:lnTo>
                    <a:pt x="837" y="524"/>
                  </a:lnTo>
                  <a:lnTo>
                    <a:pt x="816" y="478"/>
                  </a:lnTo>
                  <a:lnTo>
                    <a:pt x="797" y="440"/>
                  </a:lnTo>
                  <a:lnTo>
                    <a:pt x="748" y="364"/>
                  </a:lnTo>
                  <a:lnTo>
                    <a:pt x="689" y="292"/>
                  </a:lnTo>
                  <a:lnTo>
                    <a:pt x="622" y="224"/>
                  </a:lnTo>
                  <a:lnTo>
                    <a:pt x="549" y="163"/>
                  </a:lnTo>
                  <a:lnTo>
                    <a:pt x="471" y="111"/>
                  </a:lnTo>
                  <a:lnTo>
                    <a:pt x="390" y="68"/>
                  </a:lnTo>
                  <a:lnTo>
                    <a:pt x="309" y="37"/>
                  </a:lnTo>
                  <a:lnTo>
                    <a:pt x="269" y="27"/>
                  </a:lnTo>
                  <a:lnTo>
                    <a:pt x="221" y="16"/>
                  </a:lnTo>
                  <a:lnTo>
                    <a:pt x="137" y="3"/>
                  </a:lnTo>
                  <a:lnTo>
                    <a:pt x="72" y="0"/>
                  </a:lnTo>
                  <a:lnTo>
                    <a:pt x="28" y="6"/>
                  </a:lnTo>
                  <a:lnTo>
                    <a:pt x="16" y="13"/>
                  </a:lnTo>
                  <a:close/>
                  <a:moveTo>
                    <a:pt x="236" y="77"/>
                  </a:moveTo>
                  <a:lnTo>
                    <a:pt x="272" y="86"/>
                  </a:lnTo>
                  <a:lnTo>
                    <a:pt x="346" y="113"/>
                  </a:lnTo>
                  <a:lnTo>
                    <a:pt x="418" y="148"/>
                  </a:lnTo>
                  <a:lnTo>
                    <a:pt x="489" y="191"/>
                  </a:lnTo>
                  <a:lnTo>
                    <a:pt x="556" y="241"/>
                  </a:lnTo>
                  <a:lnTo>
                    <a:pt x="617" y="297"/>
                  </a:lnTo>
                  <a:lnTo>
                    <a:pt x="673" y="357"/>
                  </a:lnTo>
                  <a:lnTo>
                    <a:pt x="720" y="420"/>
                  </a:lnTo>
                  <a:lnTo>
                    <a:pt x="739" y="453"/>
                  </a:lnTo>
                  <a:lnTo>
                    <a:pt x="756" y="485"/>
                  </a:lnTo>
                  <a:lnTo>
                    <a:pt x="792" y="575"/>
                  </a:lnTo>
                  <a:lnTo>
                    <a:pt x="823" y="670"/>
                  </a:lnTo>
                  <a:lnTo>
                    <a:pt x="835" y="723"/>
                  </a:lnTo>
                  <a:lnTo>
                    <a:pt x="836" y="744"/>
                  </a:lnTo>
                  <a:lnTo>
                    <a:pt x="834" y="748"/>
                  </a:lnTo>
                  <a:lnTo>
                    <a:pt x="817" y="752"/>
                  </a:lnTo>
                  <a:lnTo>
                    <a:pt x="668" y="766"/>
                  </a:lnTo>
                  <a:lnTo>
                    <a:pt x="561" y="773"/>
                  </a:lnTo>
                  <a:lnTo>
                    <a:pt x="332" y="790"/>
                  </a:lnTo>
                  <a:lnTo>
                    <a:pt x="193" y="802"/>
                  </a:lnTo>
                  <a:lnTo>
                    <a:pt x="91" y="812"/>
                  </a:lnTo>
                  <a:lnTo>
                    <a:pt x="79" y="615"/>
                  </a:lnTo>
                  <a:lnTo>
                    <a:pt x="69" y="421"/>
                  </a:lnTo>
                  <a:lnTo>
                    <a:pt x="59" y="237"/>
                  </a:lnTo>
                  <a:lnTo>
                    <a:pt x="48" y="58"/>
                  </a:lnTo>
                  <a:lnTo>
                    <a:pt x="104" y="58"/>
                  </a:lnTo>
                  <a:lnTo>
                    <a:pt x="131" y="59"/>
                  </a:lnTo>
                  <a:lnTo>
                    <a:pt x="203" y="69"/>
                  </a:lnTo>
                  <a:lnTo>
                    <a:pt x="236" y="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3" name="Freeform 28"/>
            <p:cNvSpPr>
              <a:spLocks/>
            </p:cNvSpPr>
            <p:nvPr/>
          </p:nvSpPr>
          <p:spPr bwMode="auto">
            <a:xfrm>
              <a:off x="4944" y="1313"/>
              <a:ext cx="375" cy="503"/>
            </a:xfrm>
            <a:custGeom>
              <a:avLst/>
              <a:gdLst>
                <a:gd name="T0" fmla="*/ 538 w 1186"/>
                <a:gd name="T1" fmla="*/ 27 h 1591"/>
                <a:gd name="T2" fmla="*/ 490 w 1186"/>
                <a:gd name="T3" fmla="*/ 45 h 1591"/>
                <a:gd name="T4" fmla="*/ 399 w 1186"/>
                <a:gd name="T5" fmla="*/ 92 h 1591"/>
                <a:gd name="T6" fmla="*/ 314 w 1186"/>
                <a:gd name="T7" fmla="*/ 150 h 1591"/>
                <a:gd name="T8" fmla="*/ 237 w 1186"/>
                <a:gd name="T9" fmla="*/ 218 h 1591"/>
                <a:gd name="T10" fmla="*/ 168 w 1186"/>
                <a:gd name="T11" fmla="*/ 295 h 1591"/>
                <a:gd name="T12" fmla="*/ 110 w 1186"/>
                <a:gd name="T13" fmla="*/ 380 h 1591"/>
                <a:gd name="T14" fmla="*/ 62 w 1186"/>
                <a:gd name="T15" fmla="*/ 470 h 1591"/>
                <a:gd name="T16" fmla="*/ 27 w 1186"/>
                <a:gd name="T17" fmla="*/ 566 h 1591"/>
                <a:gd name="T18" fmla="*/ 15 w 1186"/>
                <a:gd name="T19" fmla="*/ 616 h 1591"/>
                <a:gd name="T20" fmla="*/ 5 w 1186"/>
                <a:gd name="T21" fmla="*/ 667 h 1591"/>
                <a:gd name="T22" fmla="*/ 0 w 1186"/>
                <a:gd name="T23" fmla="*/ 789 h 1591"/>
                <a:gd name="T24" fmla="*/ 9 w 1186"/>
                <a:gd name="T25" fmla="*/ 919 h 1591"/>
                <a:gd name="T26" fmla="*/ 24 w 1186"/>
                <a:gd name="T27" fmla="*/ 1008 h 1591"/>
                <a:gd name="T28" fmla="*/ 38 w 1186"/>
                <a:gd name="T29" fmla="*/ 1061 h 1591"/>
                <a:gd name="T30" fmla="*/ 46 w 1186"/>
                <a:gd name="T31" fmla="*/ 1084 h 1591"/>
                <a:gd name="T32" fmla="*/ 62 w 1186"/>
                <a:gd name="T33" fmla="*/ 1121 h 1591"/>
                <a:gd name="T34" fmla="*/ 100 w 1186"/>
                <a:gd name="T35" fmla="*/ 1194 h 1591"/>
                <a:gd name="T36" fmla="*/ 147 w 1186"/>
                <a:gd name="T37" fmla="*/ 1264 h 1591"/>
                <a:gd name="T38" fmla="*/ 202 w 1186"/>
                <a:gd name="T39" fmla="*/ 1330 h 1591"/>
                <a:gd name="T40" fmla="*/ 263 w 1186"/>
                <a:gd name="T41" fmla="*/ 1391 h 1591"/>
                <a:gd name="T42" fmla="*/ 329 w 1186"/>
                <a:gd name="T43" fmla="*/ 1446 h 1591"/>
                <a:gd name="T44" fmla="*/ 400 w 1186"/>
                <a:gd name="T45" fmla="*/ 1495 h 1591"/>
                <a:gd name="T46" fmla="*/ 474 w 1186"/>
                <a:gd name="T47" fmla="*/ 1535 h 1591"/>
                <a:gd name="T48" fmla="*/ 511 w 1186"/>
                <a:gd name="T49" fmla="*/ 1551 h 1591"/>
                <a:gd name="T50" fmla="*/ 547 w 1186"/>
                <a:gd name="T51" fmla="*/ 1563 h 1591"/>
                <a:gd name="T52" fmla="*/ 634 w 1186"/>
                <a:gd name="T53" fmla="*/ 1581 h 1591"/>
                <a:gd name="T54" fmla="*/ 732 w 1186"/>
                <a:gd name="T55" fmla="*/ 1590 h 1591"/>
                <a:gd name="T56" fmla="*/ 836 w 1186"/>
                <a:gd name="T57" fmla="*/ 1591 h 1591"/>
                <a:gd name="T58" fmla="*/ 938 w 1186"/>
                <a:gd name="T59" fmla="*/ 1584 h 1591"/>
                <a:gd name="T60" fmla="*/ 1032 w 1186"/>
                <a:gd name="T61" fmla="*/ 1569 h 1591"/>
                <a:gd name="T62" fmla="*/ 1111 w 1186"/>
                <a:gd name="T63" fmla="*/ 1547 h 1591"/>
                <a:gd name="T64" fmla="*/ 1155 w 1186"/>
                <a:gd name="T65" fmla="*/ 1526 h 1591"/>
                <a:gd name="T66" fmla="*/ 1177 w 1186"/>
                <a:gd name="T67" fmla="*/ 1511 h 1591"/>
                <a:gd name="T68" fmla="*/ 1185 w 1186"/>
                <a:gd name="T69" fmla="*/ 1502 h 1591"/>
                <a:gd name="T70" fmla="*/ 1186 w 1186"/>
                <a:gd name="T71" fmla="*/ 1499 h 1591"/>
                <a:gd name="T72" fmla="*/ 1185 w 1186"/>
                <a:gd name="T73" fmla="*/ 1485 h 1591"/>
                <a:gd name="T74" fmla="*/ 1172 w 1186"/>
                <a:gd name="T75" fmla="*/ 1449 h 1591"/>
                <a:gd name="T76" fmla="*/ 1101 w 1186"/>
                <a:gd name="T77" fmla="*/ 1310 h 1591"/>
                <a:gd name="T78" fmla="*/ 1005 w 1186"/>
                <a:gd name="T79" fmla="*/ 1144 h 1591"/>
                <a:gd name="T80" fmla="*/ 808 w 1186"/>
                <a:gd name="T81" fmla="*/ 806 h 1591"/>
                <a:gd name="T82" fmla="*/ 748 w 1186"/>
                <a:gd name="T83" fmla="*/ 406 h 1591"/>
                <a:gd name="T84" fmla="*/ 725 w 1186"/>
                <a:gd name="T85" fmla="*/ 251 h 1591"/>
                <a:gd name="T86" fmla="*/ 700 w 1186"/>
                <a:gd name="T87" fmla="*/ 106 h 1591"/>
                <a:gd name="T88" fmla="*/ 684 w 1186"/>
                <a:gd name="T89" fmla="*/ 46 h 1591"/>
                <a:gd name="T90" fmla="*/ 665 w 1186"/>
                <a:gd name="T91" fmla="*/ 12 h 1591"/>
                <a:gd name="T92" fmla="*/ 641 w 1186"/>
                <a:gd name="T93" fmla="*/ 0 h 1591"/>
                <a:gd name="T94" fmla="*/ 590 w 1186"/>
                <a:gd name="T95" fmla="*/ 8 h 1591"/>
                <a:gd name="T96" fmla="*/ 538 w 1186"/>
                <a:gd name="T97" fmla="*/ 27 h 1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86" h="1591">
                  <a:moveTo>
                    <a:pt x="538" y="27"/>
                  </a:moveTo>
                  <a:lnTo>
                    <a:pt x="490" y="45"/>
                  </a:lnTo>
                  <a:lnTo>
                    <a:pt x="399" y="92"/>
                  </a:lnTo>
                  <a:lnTo>
                    <a:pt x="314" y="150"/>
                  </a:lnTo>
                  <a:lnTo>
                    <a:pt x="237" y="218"/>
                  </a:lnTo>
                  <a:lnTo>
                    <a:pt x="168" y="295"/>
                  </a:lnTo>
                  <a:lnTo>
                    <a:pt x="110" y="380"/>
                  </a:lnTo>
                  <a:lnTo>
                    <a:pt x="62" y="470"/>
                  </a:lnTo>
                  <a:lnTo>
                    <a:pt x="27" y="566"/>
                  </a:lnTo>
                  <a:lnTo>
                    <a:pt x="15" y="616"/>
                  </a:lnTo>
                  <a:lnTo>
                    <a:pt x="5" y="667"/>
                  </a:lnTo>
                  <a:lnTo>
                    <a:pt x="0" y="789"/>
                  </a:lnTo>
                  <a:lnTo>
                    <a:pt x="9" y="919"/>
                  </a:lnTo>
                  <a:lnTo>
                    <a:pt x="24" y="1008"/>
                  </a:lnTo>
                  <a:lnTo>
                    <a:pt x="38" y="1061"/>
                  </a:lnTo>
                  <a:lnTo>
                    <a:pt x="46" y="1084"/>
                  </a:lnTo>
                  <a:lnTo>
                    <a:pt x="62" y="1121"/>
                  </a:lnTo>
                  <a:lnTo>
                    <a:pt x="100" y="1194"/>
                  </a:lnTo>
                  <a:lnTo>
                    <a:pt x="147" y="1264"/>
                  </a:lnTo>
                  <a:lnTo>
                    <a:pt x="202" y="1330"/>
                  </a:lnTo>
                  <a:lnTo>
                    <a:pt x="263" y="1391"/>
                  </a:lnTo>
                  <a:lnTo>
                    <a:pt x="329" y="1446"/>
                  </a:lnTo>
                  <a:lnTo>
                    <a:pt x="400" y="1495"/>
                  </a:lnTo>
                  <a:lnTo>
                    <a:pt x="474" y="1535"/>
                  </a:lnTo>
                  <a:lnTo>
                    <a:pt x="511" y="1551"/>
                  </a:lnTo>
                  <a:lnTo>
                    <a:pt x="547" y="1563"/>
                  </a:lnTo>
                  <a:lnTo>
                    <a:pt x="634" y="1581"/>
                  </a:lnTo>
                  <a:lnTo>
                    <a:pt x="732" y="1590"/>
                  </a:lnTo>
                  <a:lnTo>
                    <a:pt x="836" y="1591"/>
                  </a:lnTo>
                  <a:lnTo>
                    <a:pt x="938" y="1584"/>
                  </a:lnTo>
                  <a:lnTo>
                    <a:pt x="1032" y="1569"/>
                  </a:lnTo>
                  <a:lnTo>
                    <a:pt x="1111" y="1547"/>
                  </a:lnTo>
                  <a:lnTo>
                    <a:pt x="1155" y="1526"/>
                  </a:lnTo>
                  <a:lnTo>
                    <a:pt x="1177" y="1511"/>
                  </a:lnTo>
                  <a:lnTo>
                    <a:pt x="1185" y="1502"/>
                  </a:lnTo>
                  <a:lnTo>
                    <a:pt x="1186" y="1499"/>
                  </a:lnTo>
                  <a:lnTo>
                    <a:pt x="1185" y="1485"/>
                  </a:lnTo>
                  <a:lnTo>
                    <a:pt x="1172" y="1449"/>
                  </a:lnTo>
                  <a:lnTo>
                    <a:pt x="1101" y="1310"/>
                  </a:lnTo>
                  <a:lnTo>
                    <a:pt x="1005" y="1144"/>
                  </a:lnTo>
                  <a:lnTo>
                    <a:pt x="808" y="806"/>
                  </a:lnTo>
                  <a:lnTo>
                    <a:pt x="748" y="406"/>
                  </a:lnTo>
                  <a:lnTo>
                    <a:pt x="725" y="251"/>
                  </a:lnTo>
                  <a:lnTo>
                    <a:pt x="700" y="106"/>
                  </a:lnTo>
                  <a:lnTo>
                    <a:pt x="684" y="46"/>
                  </a:lnTo>
                  <a:lnTo>
                    <a:pt x="665" y="12"/>
                  </a:lnTo>
                  <a:lnTo>
                    <a:pt x="641" y="0"/>
                  </a:lnTo>
                  <a:lnTo>
                    <a:pt x="590" y="8"/>
                  </a:lnTo>
                  <a:lnTo>
                    <a:pt x="538" y="27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4" name="Freeform 29"/>
            <p:cNvSpPr>
              <a:spLocks/>
            </p:cNvSpPr>
            <p:nvPr/>
          </p:nvSpPr>
          <p:spPr bwMode="auto">
            <a:xfrm>
              <a:off x="4574" y="1424"/>
              <a:ext cx="87" cy="294"/>
            </a:xfrm>
            <a:custGeom>
              <a:avLst/>
              <a:gdLst>
                <a:gd name="T0" fmla="*/ 12 w 275"/>
                <a:gd name="T1" fmla="*/ 7 h 932"/>
                <a:gd name="T2" fmla="*/ 7 w 275"/>
                <a:gd name="T3" fmla="*/ 38 h 932"/>
                <a:gd name="T4" fmla="*/ 1 w 275"/>
                <a:gd name="T5" fmla="*/ 293 h 932"/>
                <a:gd name="T6" fmla="*/ 0 w 275"/>
                <a:gd name="T7" fmla="*/ 476 h 932"/>
                <a:gd name="T8" fmla="*/ 0 w 275"/>
                <a:gd name="T9" fmla="*/ 932 h 932"/>
                <a:gd name="T10" fmla="*/ 139 w 275"/>
                <a:gd name="T11" fmla="*/ 927 h 932"/>
                <a:gd name="T12" fmla="*/ 275 w 275"/>
                <a:gd name="T13" fmla="*/ 922 h 932"/>
                <a:gd name="T14" fmla="*/ 275 w 275"/>
                <a:gd name="T15" fmla="*/ 464 h 932"/>
                <a:gd name="T16" fmla="*/ 275 w 275"/>
                <a:gd name="T17" fmla="*/ 6 h 932"/>
                <a:gd name="T18" fmla="*/ 150 w 275"/>
                <a:gd name="T19" fmla="*/ 1 h 932"/>
                <a:gd name="T20" fmla="*/ 99 w 275"/>
                <a:gd name="T21" fmla="*/ 0 h 932"/>
                <a:gd name="T22" fmla="*/ 24 w 275"/>
                <a:gd name="T23" fmla="*/ 3 h 932"/>
                <a:gd name="T24" fmla="*/ 12 w 275"/>
                <a:gd name="T25" fmla="*/ 7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5" h="932">
                  <a:moveTo>
                    <a:pt x="12" y="7"/>
                  </a:moveTo>
                  <a:lnTo>
                    <a:pt x="7" y="38"/>
                  </a:lnTo>
                  <a:lnTo>
                    <a:pt x="1" y="293"/>
                  </a:lnTo>
                  <a:lnTo>
                    <a:pt x="0" y="476"/>
                  </a:lnTo>
                  <a:lnTo>
                    <a:pt x="0" y="932"/>
                  </a:lnTo>
                  <a:lnTo>
                    <a:pt x="139" y="927"/>
                  </a:lnTo>
                  <a:lnTo>
                    <a:pt x="275" y="922"/>
                  </a:lnTo>
                  <a:lnTo>
                    <a:pt x="275" y="464"/>
                  </a:lnTo>
                  <a:lnTo>
                    <a:pt x="275" y="6"/>
                  </a:lnTo>
                  <a:lnTo>
                    <a:pt x="150" y="1"/>
                  </a:lnTo>
                  <a:lnTo>
                    <a:pt x="99" y="0"/>
                  </a:lnTo>
                  <a:lnTo>
                    <a:pt x="24" y="3"/>
                  </a:lnTo>
                  <a:lnTo>
                    <a:pt x="12" y="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5" name="Freeform 30"/>
            <p:cNvSpPr>
              <a:spLocks/>
            </p:cNvSpPr>
            <p:nvPr/>
          </p:nvSpPr>
          <p:spPr bwMode="auto">
            <a:xfrm>
              <a:off x="4438" y="1476"/>
              <a:ext cx="89" cy="242"/>
            </a:xfrm>
            <a:custGeom>
              <a:avLst/>
              <a:gdLst>
                <a:gd name="T0" fmla="*/ 3 w 283"/>
                <a:gd name="T1" fmla="*/ 378 h 768"/>
                <a:gd name="T2" fmla="*/ 8 w 283"/>
                <a:gd name="T3" fmla="*/ 758 h 768"/>
                <a:gd name="T4" fmla="*/ 147 w 283"/>
                <a:gd name="T5" fmla="*/ 763 h 768"/>
                <a:gd name="T6" fmla="*/ 283 w 283"/>
                <a:gd name="T7" fmla="*/ 768 h 768"/>
                <a:gd name="T8" fmla="*/ 283 w 283"/>
                <a:gd name="T9" fmla="*/ 383 h 768"/>
                <a:gd name="T10" fmla="*/ 283 w 283"/>
                <a:gd name="T11" fmla="*/ 0 h 768"/>
                <a:gd name="T12" fmla="*/ 142 w 283"/>
                <a:gd name="T13" fmla="*/ 0 h 768"/>
                <a:gd name="T14" fmla="*/ 0 w 283"/>
                <a:gd name="T15" fmla="*/ 0 h 768"/>
                <a:gd name="T16" fmla="*/ 3 w 283"/>
                <a:gd name="T17" fmla="*/ 37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3" h="768">
                  <a:moveTo>
                    <a:pt x="3" y="378"/>
                  </a:moveTo>
                  <a:lnTo>
                    <a:pt x="8" y="758"/>
                  </a:lnTo>
                  <a:lnTo>
                    <a:pt x="147" y="763"/>
                  </a:lnTo>
                  <a:lnTo>
                    <a:pt x="283" y="768"/>
                  </a:lnTo>
                  <a:lnTo>
                    <a:pt x="283" y="383"/>
                  </a:lnTo>
                  <a:lnTo>
                    <a:pt x="283" y="0"/>
                  </a:lnTo>
                  <a:lnTo>
                    <a:pt x="142" y="0"/>
                  </a:lnTo>
                  <a:lnTo>
                    <a:pt x="0" y="0"/>
                  </a:lnTo>
                  <a:lnTo>
                    <a:pt x="3" y="37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6" name="Freeform 31"/>
            <p:cNvSpPr>
              <a:spLocks/>
            </p:cNvSpPr>
            <p:nvPr/>
          </p:nvSpPr>
          <p:spPr bwMode="auto">
            <a:xfrm>
              <a:off x="4712" y="1560"/>
              <a:ext cx="84" cy="158"/>
            </a:xfrm>
            <a:custGeom>
              <a:avLst/>
              <a:gdLst>
                <a:gd name="T0" fmla="*/ 11 w 266"/>
                <a:gd name="T1" fmla="*/ 11 h 500"/>
                <a:gd name="T2" fmla="*/ 7 w 266"/>
                <a:gd name="T3" fmla="*/ 29 h 500"/>
                <a:gd name="T4" fmla="*/ 0 w 266"/>
                <a:gd name="T5" fmla="*/ 165 h 500"/>
                <a:gd name="T6" fmla="*/ 0 w 266"/>
                <a:gd name="T7" fmla="*/ 261 h 500"/>
                <a:gd name="T8" fmla="*/ 0 w 266"/>
                <a:gd name="T9" fmla="*/ 500 h 500"/>
                <a:gd name="T10" fmla="*/ 133 w 266"/>
                <a:gd name="T11" fmla="*/ 500 h 500"/>
                <a:gd name="T12" fmla="*/ 266 w 266"/>
                <a:gd name="T13" fmla="*/ 500 h 500"/>
                <a:gd name="T14" fmla="*/ 266 w 266"/>
                <a:gd name="T15" fmla="*/ 250 h 500"/>
                <a:gd name="T16" fmla="*/ 266 w 266"/>
                <a:gd name="T17" fmla="*/ 0 h 500"/>
                <a:gd name="T18" fmla="*/ 145 w 266"/>
                <a:gd name="T19" fmla="*/ 0 h 500"/>
                <a:gd name="T20" fmla="*/ 94 w 266"/>
                <a:gd name="T21" fmla="*/ 0 h 500"/>
                <a:gd name="T22" fmla="*/ 22 w 266"/>
                <a:gd name="T23" fmla="*/ 7 h 500"/>
                <a:gd name="T24" fmla="*/ 11 w 266"/>
                <a:gd name="T25" fmla="*/ 11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6" h="500">
                  <a:moveTo>
                    <a:pt x="11" y="11"/>
                  </a:moveTo>
                  <a:lnTo>
                    <a:pt x="7" y="29"/>
                  </a:lnTo>
                  <a:lnTo>
                    <a:pt x="0" y="165"/>
                  </a:lnTo>
                  <a:lnTo>
                    <a:pt x="0" y="261"/>
                  </a:lnTo>
                  <a:lnTo>
                    <a:pt x="0" y="500"/>
                  </a:lnTo>
                  <a:lnTo>
                    <a:pt x="133" y="500"/>
                  </a:lnTo>
                  <a:lnTo>
                    <a:pt x="266" y="500"/>
                  </a:lnTo>
                  <a:lnTo>
                    <a:pt x="266" y="250"/>
                  </a:lnTo>
                  <a:lnTo>
                    <a:pt x="266" y="0"/>
                  </a:lnTo>
                  <a:lnTo>
                    <a:pt x="145" y="0"/>
                  </a:lnTo>
                  <a:lnTo>
                    <a:pt x="94" y="0"/>
                  </a:lnTo>
                  <a:lnTo>
                    <a:pt x="22" y="7"/>
                  </a:lnTo>
                  <a:lnTo>
                    <a:pt x="11" y="1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7" name="Freeform 32"/>
            <p:cNvSpPr>
              <a:spLocks/>
            </p:cNvSpPr>
            <p:nvPr/>
          </p:nvSpPr>
          <p:spPr bwMode="auto">
            <a:xfrm>
              <a:off x="5253" y="1576"/>
              <a:ext cx="240" cy="195"/>
            </a:xfrm>
            <a:custGeom>
              <a:avLst/>
              <a:gdLst>
                <a:gd name="T0" fmla="*/ 30 w 757"/>
                <a:gd name="T1" fmla="*/ 45 h 616"/>
                <a:gd name="T2" fmla="*/ 165 w 757"/>
                <a:gd name="T3" fmla="*/ 251 h 616"/>
                <a:gd name="T4" fmla="*/ 340 w 757"/>
                <a:gd name="T5" fmla="*/ 509 h 616"/>
                <a:gd name="T6" fmla="*/ 410 w 757"/>
                <a:gd name="T7" fmla="*/ 607 h 616"/>
                <a:gd name="T8" fmla="*/ 420 w 757"/>
                <a:gd name="T9" fmla="*/ 616 h 616"/>
                <a:gd name="T10" fmla="*/ 428 w 757"/>
                <a:gd name="T11" fmla="*/ 613 h 616"/>
                <a:gd name="T12" fmla="*/ 471 w 757"/>
                <a:gd name="T13" fmla="*/ 581 h 616"/>
                <a:gd name="T14" fmla="*/ 498 w 757"/>
                <a:gd name="T15" fmla="*/ 558 h 616"/>
                <a:gd name="T16" fmla="*/ 521 w 757"/>
                <a:gd name="T17" fmla="*/ 538 h 616"/>
                <a:gd name="T18" fmla="*/ 565 w 757"/>
                <a:gd name="T19" fmla="*/ 491 h 616"/>
                <a:gd name="T20" fmla="*/ 606 w 757"/>
                <a:gd name="T21" fmla="*/ 438 h 616"/>
                <a:gd name="T22" fmla="*/ 643 w 757"/>
                <a:gd name="T23" fmla="*/ 380 h 616"/>
                <a:gd name="T24" fmla="*/ 675 w 757"/>
                <a:gd name="T25" fmla="*/ 318 h 616"/>
                <a:gd name="T26" fmla="*/ 703 w 757"/>
                <a:gd name="T27" fmla="*/ 253 h 616"/>
                <a:gd name="T28" fmla="*/ 724 w 757"/>
                <a:gd name="T29" fmla="*/ 186 h 616"/>
                <a:gd name="T30" fmla="*/ 740 w 757"/>
                <a:gd name="T31" fmla="*/ 120 h 616"/>
                <a:gd name="T32" fmla="*/ 745 w 757"/>
                <a:gd name="T33" fmla="*/ 86 h 616"/>
                <a:gd name="T34" fmla="*/ 757 w 757"/>
                <a:gd name="T35" fmla="*/ 0 h 616"/>
                <a:gd name="T36" fmla="*/ 378 w 757"/>
                <a:gd name="T37" fmla="*/ 0 h 616"/>
                <a:gd name="T38" fmla="*/ 0 w 757"/>
                <a:gd name="T39" fmla="*/ 0 h 616"/>
                <a:gd name="T40" fmla="*/ 30 w 757"/>
                <a:gd name="T41" fmla="*/ 45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57" h="616">
                  <a:moveTo>
                    <a:pt x="30" y="45"/>
                  </a:moveTo>
                  <a:lnTo>
                    <a:pt x="165" y="251"/>
                  </a:lnTo>
                  <a:lnTo>
                    <a:pt x="340" y="509"/>
                  </a:lnTo>
                  <a:lnTo>
                    <a:pt x="410" y="607"/>
                  </a:lnTo>
                  <a:lnTo>
                    <a:pt x="420" y="616"/>
                  </a:lnTo>
                  <a:lnTo>
                    <a:pt x="428" y="613"/>
                  </a:lnTo>
                  <a:lnTo>
                    <a:pt x="471" y="581"/>
                  </a:lnTo>
                  <a:lnTo>
                    <a:pt x="498" y="558"/>
                  </a:lnTo>
                  <a:lnTo>
                    <a:pt x="521" y="538"/>
                  </a:lnTo>
                  <a:lnTo>
                    <a:pt x="565" y="491"/>
                  </a:lnTo>
                  <a:lnTo>
                    <a:pt x="606" y="438"/>
                  </a:lnTo>
                  <a:lnTo>
                    <a:pt x="643" y="380"/>
                  </a:lnTo>
                  <a:lnTo>
                    <a:pt x="675" y="318"/>
                  </a:lnTo>
                  <a:lnTo>
                    <a:pt x="703" y="253"/>
                  </a:lnTo>
                  <a:lnTo>
                    <a:pt x="724" y="186"/>
                  </a:lnTo>
                  <a:lnTo>
                    <a:pt x="740" y="120"/>
                  </a:lnTo>
                  <a:lnTo>
                    <a:pt x="745" y="86"/>
                  </a:lnTo>
                  <a:lnTo>
                    <a:pt x="757" y="0"/>
                  </a:lnTo>
                  <a:lnTo>
                    <a:pt x="378" y="0"/>
                  </a:lnTo>
                  <a:lnTo>
                    <a:pt x="0" y="0"/>
                  </a:lnTo>
                  <a:lnTo>
                    <a:pt x="30" y="45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8" name="Freeform 33"/>
            <p:cNvSpPr>
              <a:spLocks/>
            </p:cNvSpPr>
            <p:nvPr/>
          </p:nvSpPr>
          <p:spPr bwMode="auto">
            <a:xfrm>
              <a:off x="4417" y="1934"/>
              <a:ext cx="421" cy="58"/>
            </a:xfrm>
            <a:custGeom>
              <a:avLst/>
              <a:gdLst>
                <a:gd name="T0" fmla="*/ 26 w 1331"/>
                <a:gd name="T1" fmla="*/ 30 h 183"/>
                <a:gd name="T2" fmla="*/ 13 w 1331"/>
                <a:gd name="T3" fmla="*/ 45 h 183"/>
                <a:gd name="T4" fmla="*/ 0 w 1331"/>
                <a:gd name="T5" fmla="*/ 78 h 183"/>
                <a:gd name="T6" fmla="*/ 0 w 1331"/>
                <a:gd name="T7" fmla="*/ 111 h 183"/>
                <a:gd name="T8" fmla="*/ 15 w 1331"/>
                <a:gd name="T9" fmla="*/ 142 h 183"/>
                <a:gd name="T10" fmla="*/ 27 w 1331"/>
                <a:gd name="T11" fmla="*/ 155 h 183"/>
                <a:gd name="T12" fmla="*/ 33 w 1331"/>
                <a:gd name="T13" fmla="*/ 160 h 183"/>
                <a:gd name="T14" fmla="*/ 50 w 1331"/>
                <a:gd name="T15" fmla="*/ 167 h 183"/>
                <a:gd name="T16" fmla="*/ 96 w 1331"/>
                <a:gd name="T17" fmla="*/ 175 h 183"/>
                <a:gd name="T18" fmla="*/ 317 w 1331"/>
                <a:gd name="T19" fmla="*/ 183 h 183"/>
                <a:gd name="T20" fmla="*/ 661 w 1331"/>
                <a:gd name="T21" fmla="*/ 183 h 183"/>
                <a:gd name="T22" fmla="*/ 861 w 1331"/>
                <a:gd name="T23" fmla="*/ 183 h 183"/>
                <a:gd name="T24" fmla="*/ 1115 w 1331"/>
                <a:gd name="T25" fmla="*/ 181 h 183"/>
                <a:gd name="T26" fmla="*/ 1239 w 1331"/>
                <a:gd name="T27" fmla="*/ 175 h 183"/>
                <a:gd name="T28" fmla="*/ 1277 w 1331"/>
                <a:gd name="T29" fmla="*/ 165 h 183"/>
                <a:gd name="T30" fmla="*/ 1291 w 1331"/>
                <a:gd name="T31" fmla="*/ 156 h 183"/>
                <a:gd name="T32" fmla="*/ 1297 w 1331"/>
                <a:gd name="T33" fmla="*/ 150 h 183"/>
                <a:gd name="T34" fmla="*/ 1311 w 1331"/>
                <a:gd name="T35" fmla="*/ 135 h 183"/>
                <a:gd name="T36" fmla="*/ 1329 w 1331"/>
                <a:gd name="T37" fmla="*/ 103 h 183"/>
                <a:gd name="T38" fmla="*/ 1331 w 1331"/>
                <a:gd name="T39" fmla="*/ 92 h 183"/>
                <a:gd name="T40" fmla="*/ 1329 w 1331"/>
                <a:gd name="T41" fmla="*/ 80 h 183"/>
                <a:gd name="T42" fmla="*/ 1311 w 1331"/>
                <a:gd name="T43" fmla="*/ 48 h 183"/>
                <a:gd name="T44" fmla="*/ 1297 w 1331"/>
                <a:gd name="T45" fmla="*/ 33 h 183"/>
                <a:gd name="T46" fmla="*/ 1291 w 1331"/>
                <a:gd name="T47" fmla="*/ 28 h 183"/>
                <a:gd name="T48" fmla="*/ 1277 w 1331"/>
                <a:gd name="T49" fmla="*/ 18 h 183"/>
                <a:gd name="T50" fmla="*/ 1238 w 1331"/>
                <a:gd name="T51" fmla="*/ 9 h 183"/>
                <a:gd name="T52" fmla="*/ 1114 w 1331"/>
                <a:gd name="T53" fmla="*/ 2 h 183"/>
                <a:gd name="T54" fmla="*/ 860 w 1331"/>
                <a:gd name="T55" fmla="*/ 0 h 183"/>
                <a:gd name="T56" fmla="*/ 659 w 1331"/>
                <a:gd name="T57" fmla="*/ 0 h 183"/>
                <a:gd name="T58" fmla="*/ 300 w 1331"/>
                <a:gd name="T59" fmla="*/ 0 h 183"/>
                <a:gd name="T60" fmla="*/ 84 w 1331"/>
                <a:gd name="T61" fmla="*/ 8 h 183"/>
                <a:gd name="T62" fmla="*/ 44 w 1331"/>
                <a:gd name="T63" fmla="*/ 17 h 183"/>
                <a:gd name="T64" fmla="*/ 30 w 1331"/>
                <a:gd name="T65" fmla="*/ 25 h 183"/>
                <a:gd name="T66" fmla="*/ 26 w 1331"/>
                <a:gd name="T67" fmla="*/ 3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31" h="183">
                  <a:moveTo>
                    <a:pt x="26" y="30"/>
                  </a:moveTo>
                  <a:lnTo>
                    <a:pt x="13" y="45"/>
                  </a:lnTo>
                  <a:lnTo>
                    <a:pt x="0" y="78"/>
                  </a:lnTo>
                  <a:lnTo>
                    <a:pt x="0" y="111"/>
                  </a:lnTo>
                  <a:lnTo>
                    <a:pt x="15" y="142"/>
                  </a:lnTo>
                  <a:lnTo>
                    <a:pt x="27" y="155"/>
                  </a:lnTo>
                  <a:lnTo>
                    <a:pt x="33" y="160"/>
                  </a:lnTo>
                  <a:lnTo>
                    <a:pt x="50" y="167"/>
                  </a:lnTo>
                  <a:lnTo>
                    <a:pt x="96" y="175"/>
                  </a:lnTo>
                  <a:lnTo>
                    <a:pt x="317" y="183"/>
                  </a:lnTo>
                  <a:lnTo>
                    <a:pt x="661" y="183"/>
                  </a:lnTo>
                  <a:lnTo>
                    <a:pt x="861" y="183"/>
                  </a:lnTo>
                  <a:lnTo>
                    <a:pt x="1115" y="181"/>
                  </a:lnTo>
                  <a:lnTo>
                    <a:pt x="1239" y="175"/>
                  </a:lnTo>
                  <a:lnTo>
                    <a:pt x="1277" y="165"/>
                  </a:lnTo>
                  <a:lnTo>
                    <a:pt x="1291" y="156"/>
                  </a:lnTo>
                  <a:lnTo>
                    <a:pt x="1297" y="150"/>
                  </a:lnTo>
                  <a:lnTo>
                    <a:pt x="1311" y="135"/>
                  </a:lnTo>
                  <a:lnTo>
                    <a:pt x="1329" y="103"/>
                  </a:lnTo>
                  <a:lnTo>
                    <a:pt x="1331" y="92"/>
                  </a:lnTo>
                  <a:lnTo>
                    <a:pt x="1329" y="80"/>
                  </a:lnTo>
                  <a:lnTo>
                    <a:pt x="1311" y="48"/>
                  </a:lnTo>
                  <a:lnTo>
                    <a:pt x="1297" y="33"/>
                  </a:lnTo>
                  <a:lnTo>
                    <a:pt x="1291" y="28"/>
                  </a:lnTo>
                  <a:lnTo>
                    <a:pt x="1277" y="18"/>
                  </a:lnTo>
                  <a:lnTo>
                    <a:pt x="1238" y="9"/>
                  </a:lnTo>
                  <a:lnTo>
                    <a:pt x="1114" y="2"/>
                  </a:lnTo>
                  <a:lnTo>
                    <a:pt x="860" y="0"/>
                  </a:lnTo>
                  <a:lnTo>
                    <a:pt x="659" y="0"/>
                  </a:lnTo>
                  <a:lnTo>
                    <a:pt x="300" y="0"/>
                  </a:lnTo>
                  <a:lnTo>
                    <a:pt x="84" y="8"/>
                  </a:lnTo>
                  <a:lnTo>
                    <a:pt x="44" y="17"/>
                  </a:lnTo>
                  <a:lnTo>
                    <a:pt x="30" y="25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9" name="Freeform 34"/>
            <p:cNvSpPr>
              <a:spLocks/>
            </p:cNvSpPr>
            <p:nvPr/>
          </p:nvSpPr>
          <p:spPr bwMode="auto">
            <a:xfrm>
              <a:off x="4417" y="2124"/>
              <a:ext cx="494" cy="57"/>
            </a:xfrm>
            <a:custGeom>
              <a:avLst/>
              <a:gdLst>
                <a:gd name="T0" fmla="*/ 26 w 1562"/>
                <a:gd name="T1" fmla="*/ 30 h 183"/>
                <a:gd name="T2" fmla="*/ 13 w 1562"/>
                <a:gd name="T3" fmla="*/ 46 h 183"/>
                <a:gd name="T4" fmla="*/ 0 w 1562"/>
                <a:gd name="T5" fmla="*/ 76 h 183"/>
                <a:gd name="T6" fmla="*/ 1 w 1562"/>
                <a:gd name="T7" fmla="*/ 105 h 183"/>
                <a:gd name="T8" fmla="*/ 17 w 1562"/>
                <a:gd name="T9" fmla="*/ 135 h 183"/>
                <a:gd name="T10" fmla="*/ 31 w 1562"/>
                <a:gd name="T11" fmla="*/ 150 h 183"/>
                <a:gd name="T12" fmla="*/ 37 w 1562"/>
                <a:gd name="T13" fmla="*/ 156 h 183"/>
                <a:gd name="T14" fmla="*/ 52 w 1562"/>
                <a:gd name="T15" fmla="*/ 165 h 183"/>
                <a:gd name="T16" fmla="*/ 95 w 1562"/>
                <a:gd name="T17" fmla="*/ 175 h 183"/>
                <a:gd name="T18" fmla="*/ 241 w 1562"/>
                <a:gd name="T19" fmla="*/ 181 h 183"/>
                <a:gd name="T20" fmla="*/ 544 w 1562"/>
                <a:gd name="T21" fmla="*/ 183 h 183"/>
                <a:gd name="T22" fmla="*/ 786 w 1562"/>
                <a:gd name="T23" fmla="*/ 183 h 183"/>
                <a:gd name="T24" fmla="*/ 1216 w 1562"/>
                <a:gd name="T25" fmla="*/ 183 h 183"/>
                <a:gd name="T26" fmla="*/ 1471 w 1562"/>
                <a:gd name="T27" fmla="*/ 176 h 183"/>
                <a:gd name="T28" fmla="*/ 1516 w 1562"/>
                <a:gd name="T29" fmla="*/ 167 h 183"/>
                <a:gd name="T30" fmla="*/ 1531 w 1562"/>
                <a:gd name="T31" fmla="*/ 158 h 183"/>
                <a:gd name="T32" fmla="*/ 1536 w 1562"/>
                <a:gd name="T33" fmla="*/ 153 h 183"/>
                <a:gd name="T34" fmla="*/ 1548 w 1562"/>
                <a:gd name="T35" fmla="*/ 138 h 183"/>
                <a:gd name="T36" fmla="*/ 1561 w 1562"/>
                <a:gd name="T37" fmla="*/ 105 h 183"/>
                <a:gd name="T38" fmla="*/ 1562 w 1562"/>
                <a:gd name="T39" fmla="*/ 71 h 183"/>
                <a:gd name="T40" fmla="*/ 1549 w 1562"/>
                <a:gd name="T41" fmla="*/ 40 h 183"/>
                <a:gd name="T42" fmla="*/ 1537 w 1562"/>
                <a:gd name="T43" fmla="*/ 27 h 183"/>
                <a:gd name="T44" fmla="*/ 1532 w 1562"/>
                <a:gd name="T45" fmla="*/ 22 h 183"/>
                <a:gd name="T46" fmla="*/ 1514 w 1562"/>
                <a:gd name="T47" fmla="*/ 15 h 183"/>
                <a:gd name="T48" fmla="*/ 1461 w 1562"/>
                <a:gd name="T49" fmla="*/ 8 h 183"/>
                <a:gd name="T50" fmla="*/ 1194 w 1562"/>
                <a:gd name="T51" fmla="*/ 0 h 183"/>
                <a:gd name="T52" fmla="*/ 782 w 1562"/>
                <a:gd name="T53" fmla="*/ 0 h 183"/>
                <a:gd name="T54" fmla="*/ 348 w 1562"/>
                <a:gd name="T55" fmla="*/ 0 h 183"/>
                <a:gd name="T56" fmla="*/ 91 w 1562"/>
                <a:gd name="T57" fmla="*/ 8 h 183"/>
                <a:gd name="T58" fmla="*/ 45 w 1562"/>
                <a:gd name="T59" fmla="*/ 17 h 183"/>
                <a:gd name="T60" fmla="*/ 31 w 1562"/>
                <a:gd name="T61" fmla="*/ 25 h 183"/>
                <a:gd name="T62" fmla="*/ 26 w 1562"/>
                <a:gd name="T63" fmla="*/ 3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62" h="183">
                  <a:moveTo>
                    <a:pt x="26" y="30"/>
                  </a:moveTo>
                  <a:lnTo>
                    <a:pt x="13" y="46"/>
                  </a:lnTo>
                  <a:lnTo>
                    <a:pt x="0" y="76"/>
                  </a:lnTo>
                  <a:lnTo>
                    <a:pt x="1" y="105"/>
                  </a:lnTo>
                  <a:lnTo>
                    <a:pt x="17" y="135"/>
                  </a:lnTo>
                  <a:lnTo>
                    <a:pt x="31" y="150"/>
                  </a:lnTo>
                  <a:lnTo>
                    <a:pt x="37" y="156"/>
                  </a:lnTo>
                  <a:lnTo>
                    <a:pt x="52" y="165"/>
                  </a:lnTo>
                  <a:lnTo>
                    <a:pt x="95" y="175"/>
                  </a:lnTo>
                  <a:lnTo>
                    <a:pt x="241" y="181"/>
                  </a:lnTo>
                  <a:lnTo>
                    <a:pt x="544" y="183"/>
                  </a:lnTo>
                  <a:lnTo>
                    <a:pt x="786" y="183"/>
                  </a:lnTo>
                  <a:lnTo>
                    <a:pt x="1216" y="183"/>
                  </a:lnTo>
                  <a:lnTo>
                    <a:pt x="1471" y="176"/>
                  </a:lnTo>
                  <a:lnTo>
                    <a:pt x="1516" y="167"/>
                  </a:lnTo>
                  <a:lnTo>
                    <a:pt x="1531" y="158"/>
                  </a:lnTo>
                  <a:lnTo>
                    <a:pt x="1536" y="153"/>
                  </a:lnTo>
                  <a:lnTo>
                    <a:pt x="1548" y="138"/>
                  </a:lnTo>
                  <a:lnTo>
                    <a:pt x="1561" y="105"/>
                  </a:lnTo>
                  <a:lnTo>
                    <a:pt x="1562" y="71"/>
                  </a:lnTo>
                  <a:lnTo>
                    <a:pt x="1549" y="40"/>
                  </a:lnTo>
                  <a:lnTo>
                    <a:pt x="1537" y="27"/>
                  </a:lnTo>
                  <a:lnTo>
                    <a:pt x="1532" y="22"/>
                  </a:lnTo>
                  <a:lnTo>
                    <a:pt x="1514" y="15"/>
                  </a:lnTo>
                  <a:lnTo>
                    <a:pt x="1461" y="8"/>
                  </a:lnTo>
                  <a:lnTo>
                    <a:pt x="1194" y="0"/>
                  </a:lnTo>
                  <a:lnTo>
                    <a:pt x="782" y="0"/>
                  </a:lnTo>
                  <a:lnTo>
                    <a:pt x="348" y="0"/>
                  </a:lnTo>
                  <a:lnTo>
                    <a:pt x="91" y="8"/>
                  </a:lnTo>
                  <a:lnTo>
                    <a:pt x="45" y="17"/>
                  </a:lnTo>
                  <a:lnTo>
                    <a:pt x="31" y="25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90" name="Freeform 35"/>
            <p:cNvSpPr>
              <a:spLocks/>
            </p:cNvSpPr>
            <p:nvPr/>
          </p:nvSpPr>
          <p:spPr bwMode="auto">
            <a:xfrm>
              <a:off x="4970" y="2124"/>
              <a:ext cx="526" cy="57"/>
            </a:xfrm>
            <a:custGeom>
              <a:avLst/>
              <a:gdLst>
                <a:gd name="T0" fmla="*/ 19 w 1664"/>
                <a:gd name="T1" fmla="*/ 20 h 183"/>
                <a:gd name="T2" fmla="*/ 10 w 1664"/>
                <a:gd name="T3" fmla="*/ 32 h 183"/>
                <a:gd name="T4" fmla="*/ 0 w 1664"/>
                <a:gd name="T5" fmla="*/ 68 h 183"/>
                <a:gd name="T6" fmla="*/ 2 w 1664"/>
                <a:gd name="T7" fmla="*/ 108 h 183"/>
                <a:gd name="T8" fmla="*/ 15 w 1664"/>
                <a:gd name="T9" fmla="*/ 144 h 183"/>
                <a:gd name="T10" fmla="*/ 26 w 1664"/>
                <a:gd name="T11" fmla="*/ 157 h 183"/>
                <a:gd name="T12" fmla="*/ 31 w 1664"/>
                <a:gd name="T13" fmla="*/ 161 h 183"/>
                <a:gd name="T14" fmla="*/ 49 w 1664"/>
                <a:gd name="T15" fmla="*/ 168 h 183"/>
                <a:gd name="T16" fmla="*/ 106 w 1664"/>
                <a:gd name="T17" fmla="*/ 176 h 183"/>
                <a:gd name="T18" fmla="*/ 390 w 1664"/>
                <a:gd name="T19" fmla="*/ 183 h 183"/>
                <a:gd name="T20" fmla="*/ 831 w 1664"/>
                <a:gd name="T21" fmla="*/ 183 h 183"/>
                <a:gd name="T22" fmla="*/ 1296 w 1664"/>
                <a:gd name="T23" fmla="*/ 183 h 183"/>
                <a:gd name="T24" fmla="*/ 1569 w 1664"/>
                <a:gd name="T25" fmla="*/ 176 h 183"/>
                <a:gd name="T26" fmla="*/ 1617 w 1664"/>
                <a:gd name="T27" fmla="*/ 167 h 183"/>
                <a:gd name="T28" fmla="*/ 1633 w 1664"/>
                <a:gd name="T29" fmla="*/ 158 h 183"/>
                <a:gd name="T30" fmla="*/ 1638 w 1664"/>
                <a:gd name="T31" fmla="*/ 153 h 183"/>
                <a:gd name="T32" fmla="*/ 1650 w 1664"/>
                <a:gd name="T33" fmla="*/ 138 h 183"/>
                <a:gd name="T34" fmla="*/ 1663 w 1664"/>
                <a:gd name="T35" fmla="*/ 105 h 183"/>
                <a:gd name="T36" fmla="*/ 1664 w 1664"/>
                <a:gd name="T37" fmla="*/ 71 h 183"/>
                <a:gd name="T38" fmla="*/ 1651 w 1664"/>
                <a:gd name="T39" fmla="*/ 40 h 183"/>
                <a:gd name="T40" fmla="*/ 1639 w 1664"/>
                <a:gd name="T41" fmla="*/ 27 h 183"/>
                <a:gd name="T42" fmla="*/ 1634 w 1664"/>
                <a:gd name="T43" fmla="*/ 22 h 183"/>
                <a:gd name="T44" fmla="*/ 1616 w 1664"/>
                <a:gd name="T45" fmla="*/ 15 h 183"/>
                <a:gd name="T46" fmla="*/ 1559 w 1664"/>
                <a:gd name="T47" fmla="*/ 8 h 183"/>
                <a:gd name="T48" fmla="*/ 1271 w 1664"/>
                <a:gd name="T49" fmla="*/ 0 h 183"/>
                <a:gd name="T50" fmla="*/ 826 w 1664"/>
                <a:gd name="T51" fmla="*/ 0 h 183"/>
                <a:gd name="T52" fmla="*/ 432 w 1664"/>
                <a:gd name="T53" fmla="*/ 1 h 183"/>
                <a:gd name="T54" fmla="*/ 121 w 1664"/>
                <a:gd name="T55" fmla="*/ 7 h 183"/>
                <a:gd name="T56" fmla="*/ 31 w 1664"/>
                <a:gd name="T57" fmla="*/ 15 h 183"/>
                <a:gd name="T58" fmla="*/ 19 w 1664"/>
                <a:gd name="T59" fmla="*/ 2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64" h="183">
                  <a:moveTo>
                    <a:pt x="19" y="20"/>
                  </a:moveTo>
                  <a:lnTo>
                    <a:pt x="10" y="32"/>
                  </a:lnTo>
                  <a:lnTo>
                    <a:pt x="0" y="68"/>
                  </a:lnTo>
                  <a:lnTo>
                    <a:pt x="2" y="108"/>
                  </a:lnTo>
                  <a:lnTo>
                    <a:pt x="15" y="144"/>
                  </a:lnTo>
                  <a:lnTo>
                    <a:pt x="26" y="157"/>
                  </a:lnTo>
                  <a:lnTo>
                    <a:pt x="31" y="161"/>
                  </a:lnTo>
                  <a:lnTo>
                    <a:pt x="49" y="168"/>
                  </a:lnTo>
                  <a:lnTo>
                    <a:pt x="106" y="176"/>
                  </a:lnTo>
                  <a:lnTo>
                    <a:pt x="390" y="183"/>
                  </a:lnTo>
                  <a:lnTo>
                    <a:pt x="831" y="183"/>
                  </a:lnTo>
                  <a:lnTo>
                    <a:pt x="1296" y="183"/>
                  </a:lnTo>
                  <a:lnTo>
                    <a:pt x="1569" y="176"/>
                  </a:lnTo>
                  <a:lnTo>
                    <a:pt x="1617" y="167"/>
                  </a:lnTo>
                  <a:lnTo>
                    <a:pt x="1633" y="158"/>
                  </a:lnTo>
                  <a:lnTo>
                    <a:pt x="1638" y="153"/>
                  </a:lnTo>
                  <a:lnTo>
                    <a:pt x="1650" y="138"/>
                  </a:lnTo>
                  <a:lnTo>
                    <a:pt x="1663" y="105"/>
                  </a:lnTo>
                  <a:lnTo>
                    <a:pt x="1664" y="71"/>
                  </a:lnTo>
                  <a:lnTo>
                    <a:pt x="1651" y="40"/>
                  </a:lnTo>
                  <a:lnTo>
                    <a:pt x="1639" y="27"/>
                  </a:lnTo>
                  <a:lnTo>
                    <a:pt x="1634" y="22"/>
                  </a:lnTo>
                  <a:lnTo>
                    <a:pt x="1616" y="15"/>
                  </a:lnTo>
                  <a:lnTo>
                    <a:pt x="1559" y="8"/>
                  </a:lnTo>
                  <a:lnTo>
                    <a:pt x="1271" y="0"/>
                  </a:lnTo>
                  <a:lnTo>
                    <a:pt x="826" y="0"/>
                  </a:lnTo>
                  <a:lnTo>
                    <a:pt x="432" y="1"/>
                  </a:lnTo>
                  <a:lnTo>
                    <a:pt x="121" y="7"/>
                  </a:lnTo>
                  <a:lnTo>
                    <a:pt x="31" y="15"/>
                  </a:lnTo>
                  <a:lnTo>
                    <a:pt x="19" y="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91" name="Freeform 36"/>
            <p:cNvSpPr>
              <a:spLocks/>
            </p:cNvSpPr>
            <p:nvPr/>
          </p:nvSpPr>
          <p:spPr bwMode="auto">
            <a:xfrm>
              <a:off x="4422" y="2334"/>
              <a:ext cx="1074" cy="58"/>
            </a:xfrm>
            <a:custGeom>
              <a:avLst/>
              <a:gdLst>
                <a:gd name="T0" fmla="*/ 26 w 3395"/>
                <a:gd name="T1" fmla="*/ 30 h 183"/>
                <a:gd name="T2" fmla="*/ 14 w 3395"/>
                <a:gd name="T3" fmla="*/ 45 h 183"/>
                <a:gd name="T4" fmla="*/ 0 w 3395"/>
                <a:gd name="T5" fmla="*/ 78 h 183"/>
                <a:gd name="T6" fmla="*/ 1 w 3395"/>
                <a:gd name="T7" fmla="*/ 111 h 183"/>
                <a:gd name="T8" fmla="*/ 15 w 3395"/>
                <a:gd name="T9" fmla="*/ 142 h 183"/>
                <a:gd name="T10" fmla="*/ 28 w 3395"/>
                <a:gd name="T11" fmla="*/ 155 h 183"/>
                <a:gd name="T12" fmla="*/ 34 w 3395"/>
                <a:gd name="T13" fmla="*/ 159 h 183"/>
                <a:gd name="T14" fmla="*/ 63 w 3395"/>
                <a:gd name="T15" fmla="*/ 167 h 183"/>
                <a:gd name="T16" fmla="*/ 164 w 3395"/>
                <a:gd name="T17" fmla="*/ 176 h 183"/>
                <a:gd name="T18" fmla="*/ 743 w 3395"/>
                <a:gd name="T19" fmla="*/ 183 h 183"/>
                <a:gd name="T20" fmla="*/ 1701 w 3395"/>
                <a:gd name="T21" fmla="*/ 183 h 183"/>
                <a:gd name="T22" fmla="*/ 2691 w 3395"/>
                <a:gd name="T23" fmla="*/ 183 h 183"/>
                <a:gd name="T24" fmla="*/ 3254 w 3395"/>
                <a:gd name="T25" fmla="*/ 175 h 183"/>
                <a:gd name="T26" fmla="*/ 3342 w 3395"/>
                <a:gd name="T27" fmla="*/ 166 h 183"/>
                <a:gd name="T28" fmla="*/ 3365 w 3395"/>
                <a:gd name="T29" fmla="*/ 158 h 183"/>
                <a:gd name="T30" fmla="*/ 3370 w 3395"/>
                <a:gd name="T31" fmla="*/ 153 h 183"/>
                <a:gd name="T32" fmla="*/ 3382 w 3395"/>
                <a:gd name="T33" fmla="*/ 138 h 183"/>
                <a:gd name="T34" fmla="*/ 3395 w 3395"/>
                <a:gd name="T35" fmla="*/ 105 h 183"/>
                <a:gd name="T36" fmla="*/ 3395 w 3395"/>
                <a:gd name="T37" fmla="*/ 72 h 183"/>
                <a:gd name="T38" fmla="*/ 3381 w 3395"/>
                <a:gd name="T39" fmla="*/ 41 h 183"/>
                <a:gd name="T40" fmla="*/ 3368 w 3395"/>
                <a:gd name="T41" fmla="*/ 28 h 183"/>
                <a:gd name="T42" fmla="*/ 3362 w 3395"/>
                <a:gd name="T43" fmla="*/ 23 h 183"/>
                <a:gd name="T44" fmla="*/ 3333 w 3395"/>
                <a:gd name="T45" fmla="*/ 15 h 183"/>
                <a:gd name="T46" fmla="*/ 3232 w 3395"/>
                <a:gd name="T47" fmla="*/ 7 h 183"/>
                <a:gd name="T48" fmla="*/ 2653 w 3395"/>
                <a:gd name="T49" fmla="*/ 0 h 183"/>
                <a:gd name="T50" fmla="*/ 1695 w 3395"/>
                <a:gd name="T51" fmla="*/ 0 h 183"/>
                <a:gd name="T52" fmla="*/ 705 w 3395"/>
                <a:gd name="T53" fmla="*/ 0 h 183"/>
                <a:gd name="T54" fmla="*/ 142 w 3395"/>
                <a:gd name="T55" fmla="*/ 7 h 183"/>
                <a:gd name="T56" fmla="*/ 54 w 3395"/>
                <a:gd name="T57" fmla="*/ 16 h 183"/>
                <a:gd name="T58" fmla="*/ 31 w 3395"/>
                <a:gd name="T59" fmla="*/ 25 h 183"/>
                <a:gd name="T60" fmla="*/ 26 w 3395"/>
                <a:gd name="T61" fmla="*/ 3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95" h="183">
                  <a:moveTo>
                    <a:pt x="26" y="30"/>
                  </a:moveTo>
                  <a:lnTo>
                    <a:pt x="14" y="45"/>
                  </a:lnTo>
                  <a:lnTo>
                    <a:pt x="0" y="78"/>
                  </a:lnTo>
                  <a:lnTo>
                    <a:pt x="1" y="111"/>
                  </a:lnTo>
                  <a:lnTo>
                    <a:pt x="15" y="142"/>
                  </a:lnTo>
                  <a:lnTo>
                    <a:pt x="28" y="155"/>
                  </a:lnTo>
                  <a:lnTo>
                    <a:pt x="34" y="159"/>
                  </a:lnTo>
                  <a:lnTo>
                    <a:pt x="63" y="167"/>
                  </a:lnTo>
                  <a:lnTo>
                    <a:pt x="164" y="176"/>
                  </a:lnTo>
                  <a:lnTo>
                    <a:pt x="743" y="183"/>
                  </a:lnTo>
                  <a:lnTo>
                    <a:pt x="1701" y="183"/>
                  </a:lnTo>
                  <a:lnTo>
                    <a:pt x="2691" y="183"/>
                  </a:lnTo>
                  <a:lnTo>
                    <a:pt x="3254" y="175"/>
                  </a:lnTo>
                  <a:lnTo>
                    <a:pt x="3342" y="166"/>
                  </a:lnTo>
                  <a:lnTo>
                    <a:pt x="3365" y="158"/>
                  </a:lnTo>
                  <a:lnTo>
                    <a:pt x="3370" y="153"/>
                  </a:lnTo>
                  <a:lnTo>
                    <a:pt x="3382" y="138"/>
                  </a:lnTo>
                  <a:lnTo>
                    <a:pt x="3395" y="105"/>
                  </a:lnTo>
                  <a:lnTo>
                    <a:pt x="3395" y="72"/>
                  </a:lnTo>
                  <a:lnTo>
                    <a:pt x="3381" y="41"/>
                  </a:lnTo>
                  <a:lnTo>
                    <a:pt x="3368" y="28"/>
                  </a:lnTo>
                  <a:lnTo>
                    <a:pt x="3362" y="23"/>
                  </a:lnTo>
                  <a:lnTo>
                    <a:pt x="3333" y="15"/>
                  </a:lnTo>
                  <a:lnTo>
                    <a:pt x="3232" y="7"/>
                  </a:lnTo>
                  <a:lnTo>
                    <a:pt x="2653" y="0"/>
                  </a:lnTo>
                  <a:lnTo>
                    <a:pt x="1695" y="0"/>
                  </a:lnTo>
                  <a:lnTo>
                    <a:pt x="705" y="0"/>
                  </a:lnTo>
                  <a:lnTo>
                    <a:pt x="142" y="7"/>
                  </a:lnTo>
                  <a:lnTo>
                    <a:pt x="54" y="16"/>
                  </a:lnTo>
                  <a:lnTo>
                    <a:pt x="31" y="25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92" name="Freeform 37"/>
            <p:cNvSpPr>
              <a:spLocks/>
            </p:cNvSpPr>
            <p:nvPr/>
          </p:nvSpPr>
          <p:spPr bwMode="auto">
            <a:xfrm>
              <a:off x="4417" y="2545"/>
              <a:ext cx="1084" cy="58"/>
            </a:xfrm>
            <a:custGeom>
              <a:avLst/>
              <a:gdLst>
                <a:gd name="T0" fmla="*/ 32 w 3429"/>
                <a:gd name="T1" fmla="*/ 34 h 184"/>
                <a:gd name="T2" fmla="*/ 17 w 3429"/>
                <a:gd name="T3" fmla="*/ 49 h 184"/>
                <a:gd name="T4" fmla="*/ 1 w 3429"/>
                <a:gd name="T5" fmla="*/ 81 h 184"/>
                <a:gd name="T6" fmla="*/ 0 w 3429"/>
                <a:gd name="T7" fmla="*/ 113 h 184"/>
                <a:gd name="T8" fmla="*/ 15 w 3429"/>
                <a:gd name="T9" fmla="*/ 142 h 184"/>
                <a:gd name="T10" fmla="*/ 28 w 3429"/>
                <a:gd name="T11" fmla="*/ 155 h 184"/>
                <a:gd name="T12" fmla="*/ 35 w 3429"/>
                <a:gd name="T13" fmla="*/ 160 h 184"/>
                <a:gd name="T14" fmla="*/ 63 w 3429"/>
                <a:gd name="T15" fmla="*/ 168 h 184"/>
                <a:gd name="T16" fmla="*/ 166 w 3429"/>
                <a:gd name="T17" fmla="*/ 176 h 184"/>
                <a:gd name="T18" fmla="*/ 751 w 3429"/>
                <a:gd name="T19" fmla="*/ 183 h 184"/>
                <a:gd name="T20" fmla="*/ 1720 w 3429"/>
                <a:gd name="T21" fmla="*/ 184 h 184"/>
                <a:gd name="T22" fmla="*/ 3380 w 3429"/>
                <a:gd name="T23" fmla="*/ 184 h 184"/>
                <a:gd name="T24" fmla="*/ 3405 w 3429"/>
                <a:gd name="T25" fmla="*/ 147 h 184"/>
                <a:gd name="T26" fmla="*/ 3417 w 3429"/>
                <a:gd name="T27" fmla="*/ 129 h 184"/>
                <a:gd name="T28" fmla="*/ 3429 w 3429"/>
                <a:gd name="T29" fmla="*/ 100 h 184"/>
                <a:gd name="T30" fmla="*/ 3428 w 3429"/>
                <a:gd name="T31" fmla="*/ 74 h 184"/>
                <a:gd name="T32" fmla="*/ 3412 w 3429"/>
                <a:gd name="T33" fmla="*/ 48 h 184"/>
                <a:gd name="T34" fmla="*/ 3398 w 3429"/>
                <a:gd name="T35" fmla="*/ 34 h 184"/>
                <a:gd name="T36" fmla="*/ 3392 w 3429"/>
                <a:gd name="T37" fmla="*/ 28 h 184"/>
                <a:gd name="T38" fmla="*/ 3371 w 3429"/>
                <a:gd name="T39" fmla="*/ 18 h 184"/>
                <a:gd name="T40" fmla="*/ 3323 w 3429"/>
                <a:gd name="T41" fmla="*/ 11 h 184"/>
                <a:gd name="T42" fmla="*/ 3228 w 3429"/>
                <a:gd name="T43" fmla="*/ 6 h 184"/>
                <a:gd name="T44" fmla="*/ 2735 w 3429"/>
                <a:gd name="T45" fmla="*/ 0 h 184"/>
                <a:gd name="T46" fmla="*/ 1715 w 3429"/>
                <a:gd name="T47" fmla="*/ 0 h 184"/>
                <a:gd name="T48" fmla="*/ 695 w 3429"/>
                <a:gd name="T49" fmla="*/ 0 h 184"/>
                <a:gd name="T50" fmla="*/ 202 w 3429"/>
                <a:gd name="T51" fmla="*/ 6 h 184"/>
                <a:gd name="T52" fmla="*/ 107 w 3429"/>
                <a:gd name="T53" fmla="*/ 11 h 184"/>
                <a:gd name="T54" fmla="*/ 59 w 3429"/>
                <a:gd name="T55" fmla="*/ 18 h 184"/>
                <a:gd name="T56" fmla="*/ 38 w 3429"/>
                <a:gd name="T57" fmla="*/ 28 h 184"/>
                <a:gd name="T58" fmla="*/ 32 w 3429"/>
                <a:gd name="T59" fmla="*/ 3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29" h="184">
                  <a:moveTo>
                    <a:pt x="32" y="34"/>
                  </a:moveTo>
                  <a:lnTo>
                    <a:pt x="17" y="49"/>
                  </a:lnTo>
                  <a:lnTo>
                    <a:pt x="1" y="81"/>
                  </a:lnTo>
                  <a:lnTo>
                    <a:pt x="0" y="113"/>
                  </a:lnTo>
                  <a:lnTo>
                    <a:pt x="15" y="142"/>
                  </a:lnTo>
                  <a:lnTo>
                    <a:pt x="28" y="155"/>
                  </a:lnTo>
                  <a:lnTo>
                    <a:pt x="35" y="160"/>
                  </a:lnTo>
                  <a:lnTo>
                    <a:pt x="63" y="168"/>
                  </a:lnTo>
                  <a:lnTo>
                    <a:pt x="166" y="176"/>
                  </a:lnTo>
                  <a:lnTo>
                    <a:pt x="751" y="183"/>
                  </a:lnTo>
                  <a:lnTo>
                    <a:pt x="1720" y="184"/>
                  </a:lnTo>
                  <a:lnTo>
                    <a:pt x="3380" y="184"/>
                  </a:lnTo>
                  <a:lnTo>
                    <a:pt x="3405" y="147"/>
                  </a:lnTo>
                  <a:lnTo>
                    <a:pt x="3417" y="129"/>
                  </a:lnTo>
                  <a:lnTo>
                    <a:pt x="3429" y="100"/>
                  </a:lnTo>
                  <a:lnTo>
                    <a:pt x="3428" y="74"/>
                  </a:lnTo>
                  <a:lnTo>
                    <a:pt x="3412" y="48"/>
                  </a:lnTo>
                  <a:lnTo>
                    <a:pt x="3398" y="34"/>
                  </a:lnTo>
                  <a:lnTo>
                    <a:pt x="3392" y="28"/>
                  </a:lnTo>
                  <a:lnTo>
                    <a:pt x="3371" y="18"/>
                  </a:lnTo>
                  <a:lnTo>
                    <a:pt x="3323" y="11"/>
                  </a:lnTo>
                  <a:lnTo>
                    <a:pt x="3228" y="6"/>
                  </a:lnTo>
                  <a:lnTo>
                    <a:pt x="2735" y="0"/>
                  </a:lnTo>
                  <a:lnTo>
                    <a:pt x="1715" y="0"/>
                  </a:lnTo>
                  <a:lnTo>
                    <a:pt x="695" y="0"/>
                  </a:lnTo>
                  <a:lnTo>
                    <a:pt x="202" y="6"/>
                  </a:lnTo>
                  <a:lnTo>
                    <a:pt x="107" y="11"/>
                  </a:lnTo>
                  <a:lnTo>
                    <a:pt x="59" y="18"/>
                  </a:lnTo>
                  <a:lnTo>
                    <a:pt x="38" y="28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94" name="Group 40"/>
          <p:cNvGrpSpPr>
            <a:grpSpLocks noChangeAspect="1"/>
          </p:cNvGrpSpPr>
          <p:nvPr/>
        </p:nvGrpSpPr>
        <p:grpSpPr bwMode="auto">
          <a:xfrm>
            <a:off x="1247989" y="2392141"/>
            <a:ext cx="835527" cy="834936"/>
            <a:chOff x="3176" y="1497"/>
            <a:chExt cx="2825" cy="2823"/>
          </a:xfrm>
        </p:grpSpPr>
        <p:sp>
          <p:nvSpPr>
            <p:cNvPr id="95" name="AutoShape 39"/>
            <p:cNvSpPr>
              <a:spLocks noChangeAspect="1" noChangeArrowheads="1" noTextEdit="1"/>
            </p:cNvSpPr>
            <p:nvPr/>
          </p:nvSpPr>
          <p:spPr bwMode="auto">
            <a:xfrm>
              <a:off x="3176" y="1497"/>
              <a:ext cx="2825" cy="2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96" name="Freeform 41"/>
            <p:cNvSpPr>
              <a:spLocks/>
            </p:cNvSpPr>
            <p:nvPr/>
          </p:nvSpPr>
          <p:spPr bwMode="auto">
            <a:xfrm>
              <a:off x="4592" y="1645"/>
              <a:ext cx="93" cy="262"/>
            </a:xfrm>
            <a:custGeom>
              <a:avLst/>
              <a:gdLst>
                <a:gd name="T0" fmla="*/ 56 w 221"/>
                <a:gd name="T1" fmla="*/ 26 h 623"/>
                <a:gd name="T2" fmla="*/ 46 w 221"/>
                <a:gd name="T3" fmla="*/ 36 h 623"/>
                <a:gd name="T4" fmla="*/ 31 w 221"/>
                <a:gd name="T5" fmla="*/ 66 h 623"/>
                <a:gd name="T6" fmla="*/ 22 w 221"/>
                <a:gd name="T7" fmla="*/ 124 h 623"/>
                <a:gd name="T8" fmla="*/ 15 w 221"/>
                <a:gd name="T9" fmla="*/ 229 h 623"/>
                <a:gd name="T10" fmla="*/ 11 w 221"/>
                <a:gd name="T11" fmla="*/ 308 h 623"/>
                <a:gd name="T12" fmla="*/ 0 w 221"/>
                <a:gd name="T13" fmla="*/ 558 h 623"/>
                <a:gd name="T14" fmla="*/ 46 w 221"/>
                <a:gd name="T15" fmla="*/ 595 h 623"/>
                <a:gd name="T16" fmla="*/ 58 w 221"/>
                <a:gd name="T17" fmla="*/ 604 h 623"/>
                <a:gd name="T18" fmla="*/ 79 w 221"/>
                <a:gd name="T19" fmla="*/ 616 h 623"/>
                <a:gd name="T20" fmla="*/ 100 w 221"/>
                <a:gd name="T21" fmla="*/ 623 h 623"/>
                <a:gd name="T22" fmla="*/ 119 w 221"/>
                <a:gd name="T23" fmla="*/ 623 h 623"/>
                <a:gd name="T24" fmla="*/ 128 w 221"/>
                <a:gd name="T25" fmla="*/ 621 h 623"/>
                <a:gd name="T26" fmla="*/ 142 w 221"/>
                <a:gd name="T27" fmla="*/ 617 h 623"/>
                <a:gd name="T28" fmla="*/ 164 w 221"/>
                <a:gd name="T29" fmla="*/ 608 h 623"/>
                <a:gd name="T30" fmla="*/ 181 w 221"/>
                <a:gd name="T31" fmla="*/ 594 h 623"/>
                <a:gd name="T32" fmla="*/ 193 w 221"/>
                <a:gd name="T33" fmla="*/ 573 h 623"/>
                <a:gd name="T34" fmla="*/ 206 w 221"/>
                <a:gd name="T35" fmla="*/ 525 h 623"/>
                <a:gd name="T36" fmla="*/ 215 w 221"/>
                <a:gd name="T37" fmla="*/ 408 h 623"/>
                <a:gd name="T38" fmla="*/ 218 w 221"/>
                <a:gd name="T39" fmla="*/ 318 h 623"/>
                <a:gd name="T40" fmla="*/ 220 w 221"/>
                <a:gd name="T41" fmla="*/ 236 h 623"/>
                <a:gd name="T42" fmla="*/ 221 w 221"/>
                <a:gd name="T43" fmla="*/ 131 h 623"/>
                <a:gd name="T44" fmla="*/ 216 w 221"/>
                <a:gd name="T45" fmla="*/ 75 h 623"/>
                <a:gd name="T46" fmla="*/ 202 w 221"/>
                <a:gd name="T47" fmla="*/ 45 h 623"/>
                <a:gd name="T48" fmla="*/ 190 w 221"/>
                <a:gd name="T49" fmla="*/ 33 h 623"/>
                <a:gd name="T50" fmla="*/ 173 w 221"/>
                <a:gd name="T51" fmla="*/ 18 h 623"/>
                <a:gd name="T52" fmla="*/ 141 w 221"/>
                <a:gd name="T53" fmla="*/ 1 h 623"/>
                <a:gd name="T54" fmla="*/ 108 w 221"/>
                <a:gd name="T55" fmla="*/ 0 h 623"/>
                <a:gd name="T56" fmla="*/ 74 w 221"/>
                <a:gd name="T57" fmla="*/ 13 h 623"/>
                <a:gd name="T58" fmla="*/ 56 w 221"/>
                <a:gd name="T59" fmla="*/ 2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1" h="623">
                  <a:moveTo>
                    <a:pt x="56" y="26"/>
                  </a:moveTo>
                  <a:lnTo>
                    <a:pt x="46" y="36"/>
                  </a:lnTo>
                  <a:lnTo>
                    <a:pt x="31" y="66"/>
                  </a:lnTo>
                  <a:lnTo>
                    <a:pt x="22" y="124"/>
                  </a:lnTo>
                  <a:lnTo>
                    <a:pt x="15" y="229"/>
                  </a:lnTo>
                  <a:lnTo>
                    <a:pt x="11" y="308"/>
                  </a:lnTo>
                  <a:lnTo>
                    <a:pt x="0" y="558"/>
                  </a:lnTo>
                  <a:lnTo>
                    <a:pt x="46" y="595"/>
                  </a:lnTo>
                  <a:lnTo>
                    <a:pt x="58" y="604"/>
                  </a:lnTo>
                  <a:lnTo>
                    <a:pt x="79" y="616"/>
                  </a:lnTo>
                  <a:lnTo>
                    <a:pt x="100" y="623"/>
                  </a:lnTo>
                  <a:lnTo>
                    <a:pt x="119" y="623"/>
                  </a:lnTo>
                  <a:lnTo>
                    <a:pt x="128" y="621"/>
                  </a:lnTo>
                  <a:lnTo>
                    <a:pt x="142" y="617"/>
                  </a:lnTo>
                  <a:lnTo>
                    <a:pt x="164" y="608"/>
                  </a:lnTo>
                  <a:lnTo>
                    <a:pt x="181" y="594"/>
                  </a:lnTo>
                  <a:lnTo>
                    <a:pt x="193" y="573"/>
                  </a:lnTo>
                  <a:lnTo>
                    <a:pt x="206" y="525"/>
                  </a:lnTo>
                  <a:lnTo>
                    <a:pt x="215" y="408"/>
                  </a:lnTo>
                  <a:lnTo>
                    <a:pt x="218" y="318"/>
                  </a:lnTo>
                  <a:lnTo>
                    <a:pt x="220" y="236"/>
                  </a:lnTo>
                  <a:lnTo>
                    <a:pt x="221" y="131"/>
                  </a:lnTo>
                  <a:lnTo>
                    <a:pt x="216" y="75"/>
                  </a:lnTo>
                  <a:lnTo>
                    <a:pt x="202" y="45"/>
                  </a:lnTo>
                  <a:lnTo>
                    <a:pt x="190" y="33"/>
                  </a:lnTo>
                  <a:lnTo>
                    <a:pt x="173" y="18"/>
                  </a:lnTo>
                  <a:lnTo>
                    <a:pt x="141" y="1"/>
                  </a:lnTo>
                  <a:lnTo>
                    <a:pt x="108" y="0"/>
                  </a:lnTo>
                  <a:lnTo>
                    <a:pt x="74" y="13"/>
                  </a:lnTo>
                  <a:lnTo>
                    <a:pt x="56" y="2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97" name="Freeform 42"/>
            <p:cNvSpPr>
              <a:spLocks/>
            </p:cNvSpPr>
            <p:nvPr/>
          </p:nvSpPr>
          <p:spPr bwMode="auto">
            <a:xfrm>
              <a:off x="3693" y="1887"/>
              <a:ext cx="214" cy="206"/>
            </a:xfrm>
            <a:custGeom>
              <a:avLst/>
              <a:gdLst>
                <a:gd name="T0" fmla="*/ 60 w 508"/>
                <a:gd name="T1" fmla="*/ 8 h 489"/>
                <a:gd name="T2" fmla="*/ 45 w 508"/>
                <a:gd name="T3" fmla="*/ 15 h 489"/>
                <a:gd name="T4" fmla="*/ 20 w 508"/>
                <a:gd name="T5" fmla="*/ 41 h 489"/>
                <a:gd name="T6" fmla="*/ 4 w 508"/>
                <a:gd name="T7" fmla="*/ 74 h 489"/>
                <a:gd name="T8" fmla="*/ 0 w 508"/>
                <a:gd name="T9" fmla="*/ 110 h 489"/>
                <a:gd name="T10" fmla="*/ 3 w 508"/>
                <a:gd name="T11" fmla="*/ 128 h 489"/>
                <a:gd name="T12" fmla="*/ 7 w 508"/>
                <a:gd name="T13" fmla="*/ 136 h 489"/>
                <a:gd name="T14" fmla="*/ 37 w 508"/>
                <a:gd name="T15" fmla="*/ 173 h 489"/>
                <a:gd name="T16" fmla="*/ 118 w 508"/>
                <a:gd name="T17" fmla="*/ 256 h 489"/>
                <a:gd name="T18" fmla="*/ 191 w 508"/>
                <a:gd name="T19" fmla="*/ 323 h 489"/>
                <a:gd name="T20" fmla="*/ 257 w 508"/>
                <a:gd name="T21" fmla="*/ 384 h 489"/>
                <a:gd name="T22" fmla="*/ 331 w 508"/>
                <a:gd name="T23" fmla="*/ 445 h 489"/>
                <a:gd name="T24" fmla="*/ 369 w 508"/>
                <a:gd name="T25" fmla="*/ 471 h 489"/>
                <a:gd name="T26" fmla="*/ 400 w 508"/>
                <a:gd name="T27" fmla="*/ 485 h 489"/>
                <a:gd name="T28" fmla="*/ 426 w 508"/>
                <a:gd name="T29" fmla="*/ 489 h 489"/>
                <a:gd name="T30" fmla="*/ 448 w 508"/>
                <a:gd name="T31" fmla="*/ 484 h 489"/>
                <a:gd name="T32" fmla="*/ 468 w 508"/>
                <a:gd name="T33" fmla="*/ 470 h 489"/>
                <a:gd name="T34" fmla="*/ 478 w 508"/>
                <a:gd name="T35" fmla="*/ 460 h 489"/>
                <a:gd name="T36" fmla="*/ 489 w 508"/>
                <a:gd name="T37" fmla="*/ 447 h 489"/>
                <a:gd name="T38" fmla="*/ 503 w 508"/>
                <a:gd name="T39" fmla="*/ 424 h 489"/>
                <a:gd name="T40" fmla="*/ 508 w 508"/>
                <a:gd name="T41" fmla="*/ 400 h 489"/>
                <a:gd name="T42" fmla="*/ 503 w 508"/>
                <a:gd name="T43" fmla="*/ 373 h 489"/>
                <a:gd name="T44" fmla="*/ 488 w 508"/>
                <a:gd name="T45" fmla="*/ 343 h 489"/>
                <a:gd name="T46" fmla="*/ 460 w 508"/>
                <a:gd name="T47" fmla="*/ 306 h 489"/>
                <a:gd name="T48" fmla="*/ 396 w 508"/>
                <a:gd name="T49" fmla="*/ 238 h 489"/>
                <a:gd name="T50" fmla="*/ 331 w 508"/>
                <a:gd name="T51" fmla="*/ 176 h 489"/>
                <a:gd name="T52" fmla="*/ 259 w 508"/>
                <a:gd name="T53" fmla="*/ 109 h 489"/>
                <a:gd name="T54" fmla="*/ 147 w 508"/>
                <a:gd name="T55" fmla="*/ 15 h 489"/>
                <a:gd name="T56" fmla="*/ 126 w 508"/>
                <a:gd name="T57" fmla="*/ 3 h 489"/>
                <a:gd name="T58" fmla="*/ 112 w 508"/>
                <a:gd name="T59" fmla="*/ 0 h 489"/>
                <a:gd name="T60" fmla="*/ 76 w 508"/>
                <a:gd name="T61" fmla="*/ 3 h 489"/>
                <a:gd name="T62" fmla="*/ 60 w 508"/>
                <a:gd name="T63" fmla="*/ 8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08" h="489">
                  <a:moveTo>
                    <a:pt x="60" y="8"/>
                  </a:moveTo>
                  <a:lnTo>
                    <a:pt x="45" y="15"/>
                  </a:lnTo>
                  <a:lnTo>
                    <a:pt x="20" y="41"/>
                  </a:lnTo>
                  <a:lnTo>
                    <a:pt x="4" y="74"/>
                  </a:lnTo>
                  <a:lnTo>
                    <a:pt x="0" y="110"/>
                  </a:lnTo>
                  <a:lnTo>
                    <a:pt x="3" y="128"/>
                  </a:lnTo>
                  <a:lnTo>
                    <a:pt x="7" y="136"/>
                  </a:lnTo>
                  <a:lnTo>
                    <a:pt x="37" y="173"/>
                  </a:lnTo>
                  <a:lnTo>
                    <a:pt x="118" y="256"/>
                  </a:lnTo>
                  <a:lnTo>
                    <a:pt x="191" y="323"/>
                  </a:lnTo>
                  <a:lnTo>
                    <a:pt x="257" y="384"/>
                  </a:lnTo>
                  <a:lnTo>
                    <a:pt x="331" y="445"/>
                  </a:lnTo>
                  <a:lnTo>
                    <a:pt x="369" y="471"/>
                  </a:lnTo>
                  <a:lnTo>
                    <a:pt x="400" y="485"/>
                  </a:lnTo>
                  <a:lnTo>
                    <a:pt x="426" y="489"/>
                  </a:lnTo>
                  <a:lnTo>
                    <a:pt x="448" y="484"/>
                  </a:lnTo>
                  <a:lnTo>
                    <a:pt x="468" y="470"/>
                  </a:lnTo>
                  <a:lnTo>
                    <a:pt x="478" y="460"/>
                  </a:lnTo>
                  <a:lnTo>
                    <a:pt x="489" y="447"/>
                  </a:lnTo>
                  <a:lnTo>
                    <a:pt x="503" y="424"/>
                  </a:lnTo>
                  <a:lnTo>
                    <a:pt x="508" y="400"/>
                  </a:lnTo>
                  <a:lnTo>
                    <a:pt x="503" y="373"/>
                  </a:lnTo>
                  <a:lnTo>
                    <a:pt x="488" y="343"/>
                  </a:lnTo>
                  <a:lnTo>
                    <a:pt x="460" y="306"/>
                  </a:lnTo>
                  <a:lnTo>
                    <a:pt x="396" y="238"/>
                  </a:lnTo>
                  <a:lnTo>
                    <a:pt x="331" y="176"/>
                  </a:lnTo>
                  <a:lnTo>
                    <a:pt x="259" y="109"/>
                  </a:lnTo>
                  <a:lnTo>
                    <a:pt x="147" y="15"/>
                  </a:lnTo>
                  <a:lnTo>
                    <a:pt x="126" y="3"/>
                  </a:lnTo>
                  <a:lnTo>
                    <a:pt x="112" y="0"/>
                  </a:lnTo>
                  <a:lnTo>
                    <a:pt x="76" y="3"/>
                  </a:lnTo>
                  <a:lnTo>
                    <a:pt x="60" y="8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98" name="Freeform 43"/>
            <p:cNvSpPr>
              <a:spLocks/>
            </p:cNvSpPr>
            <p:nvPr/>
          </p:nvSpPr>
          <p:spPr bwMode="auto">
            <a:xfrm>
              <a:off x="5256" y="1925"/>
              <a:ext cx="180" cy="235"/>
            </a:xfrm>
            <a:custGeom>
              <a:avLst/>
              <a:gdLst>
                <a:gd name="T0" fmla="*/ 288 w 427"/>
                <a:gd name="T1" fmla="*/ 17 h 558"/>
                <a:gd name="T2" fmla="*/ 270 w 427"/>
                <a:gd name="T3" fmla="*/ 35 h 558"/>
                <a:gd name="T4" fmla="*/ 180 w 427"/>
                <a:gd name="T5" fmla="*/ 153 h 558"/>
                <a:gd name="T6" fmla="*/ 125 w 427"/>
                <a:gd name="T7" fmla="*/ 235 h 558"/>
                <a:gd name="T8" fmla="*/ 75 w 427"/>
                <a:gd name="T9" fmla="*/ 310 h 558"/>
                <a:gd name="T10" fmla="*/ 27 w 427"/>
                <a:gd name="T11" fmla="*/ 391 h 558"/>
                <a:gd name="T12" fmla="*/ 8 w 427"/>
                <a:gd name="T13" fmla="*/ 432 h 558"/>
                <a:gd name="T14" fmla="*/ 0 w 427"/>
                <a:gd name="T15" fmla="*/ 465 h 558"/>
                <a:gd name="T16" fmla="*/ 3 w 427"/>
                <a:gd name="T17" fmla="*/ 490 h 558"/>
                <a:gd name="T18" fmla="*/ 14 w 427"/>
                <a:gd name="T19" fmla="*/ 512 h 558"/>
                <a:gd name="T20" fmla="*/ 35 w 427"/>
                <a:gd name="T21" fmla="*/ 531 h 558"/>
                <a:gd name="T22" fmla="*/ 48 w 427"/>
                <a:gd name="T23" fmla="*/ 540 h 558"/>
                <a:gd name="T24" fmla="*/ 61 w 427"/>
                <a:gd name="T25" fmla="*/ 548 h 558"/>
                <a:gd name="T26" fmla="*/ 85 w 427"/>
                <a:gd name="T27" fmla="*/ 557 h 558"/>
                <a:gd name="T28" fmla="*/ 108 w 427"/>
                <a:gd name="T29" fmla="*/ 558 h 558"/>
                <a:gd name="T30" fmla="*/ 132 w 427"/>
                <a:gd name="T31" fmla="*/ 548 h 558"/>
                <a:gd name="T32" fmla="*/ 159 w 427"/>
                <a:gd name="T33" fmla="*/ 527 h 558"/>
                <a:gd name="T34" fmla="*/ 190 w 427"/>
                <a:gd name="T35" fmla="*/ 493 h 558"/>
                <a:gd name="T36" fmla="*/ 247 w 427"/>
                <a:gd name="T37" fmla="*/ 417 h 558"/>
                <a:gd name="T38" fmla="*/ 297 w 427"/>
                <a:gd name="T39" fmla="*/ 344 h 558"/>
                <a:gd name="T40" fmla="*/ 346 w 427"/>
                <a:gd name="T41" fmla="*/ 269 h 558"/>
                <a:gd name="T42" fmla="*/ 395 w 427"/>
                <a:gd name="T43" fmla="*/ 186 h 558"/>
                <a:gd name="T44" fmla="*/ 416 w 427"/>
                <a:gd name="T45" fmla="*/ 143 h 558"/>
                <a:gd name="T46" fmla="*/ 426 w 427"/>
                <a:gd name="T47" fmla="*/ 108 h 558"/>
                <a:gd name="T48" fmla="*/ 427 w 427"/>
                <a:gd name="T49" fmla="*/ 81 h 558"/>
                <a:gd name="T50" fmla="*/ 420 w 427"/>
                <a:gd name="T51" fmla="*/ 58 h 558"/>
                <a:gd name="T52" fmla="*/ 404 w 427"/>
                <a:gd name="T53" fmla="*/ 38 h 558"/>
                <a:gd name="T54" fmla="*/ 393 w 427"/>
                <a:gd name="T55" fmla="*/ 29 h 558"/>
                <a:gd name="T56" fmla="*/ 378 w 427"/>
                <a:gd name="T57" fmla="*/ 17 h 558"/>
                <a:gd name="T58" fmla="*/ 353 w 427"/>
                <a:gd name="T59" fmla="*/ 3 h 558"/>
                <a:gd name="T60" fmla="*/ 330 w 427"/>
                <a:gd name="T61" fmla="*/ 0 h 558"/>
                <a:gd name="T62" fmla="*/ 304 w 427"/>
                <a:gd name="T63" fmla="*/ 9 h 558"/>
                <a:gd name="T64" fmla="*/ 288 w 427"/>
                <a:gd name="T65" fmla="*/ 17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7" h="558">
                  <a:moveTo>
                    <a:pt x="288" y="17"/>
                  </a:moveTo>
                  <a:lnTo>
                    <a:pt x="270" y="35"/>
                  </a:lnTo>
                  <a:lnTo>
                    <a:pt x="180" y="153"/>
                  </a:lnTo>
                  <a:lnTo>
                    <a:pt x="125" y="235"/>
                  </a:lnTo>
                  <a:lnTo>
                    <a:pt x="75" y="310"/>
                  </a:lnTo>
                  <a:lnTo>
                    <a:pt x="27" y="391"/>
                  </a:lnTo>
                  <a:lnTo>
                    <a:pt x="8" y="432"/>
                  </a:lnTo>
                  <a:lnTo>
                    <a:pt x="0" y="465"/>
                  </a:lnTo>
                  <a:lnTo>
                    <a:pt x="3" y="490"/>
                  </a:lnTo>
                  <a:lnTo>
                    <a:pt x="14" y="512"/>
                  </a:lnTo>
                  <a:lnTo>
                    <a:pt x="35" y="531"/>
                  </a:lnTo>
                  <a:lnTo>
                    <a:pt x="48" y="540"/>
                  </a:lnTo>
                  <a:lnTo>
                    <a:pt x="61" y="548"/>
                  </a:lnTo>
                  <a:lnTo>
                    <a:pt x="85" y="557"/>
                  </a:lnTo>
                  <a:lnTo>
                    <a:pt x="108" y="558"/>
                  </a:lnTo>
                  <a:lnTo>
                    <a:pt x="132" y="548"/>
                  </a:lnTo>
                  <a:lnTo>
                    <a:pt x="159" y="527"/>
                  </a:lnTo>
                  <a:lnTo>
                    <a:pt x="190" y="493"/>
                  </a:lnTo>
                  <a:lnTo>
                    <a:pt x="247" y="417"/>
                  </a:lnTo>
                  <a:lnTo>
                    <a:pt x="297" y="344"/>
                  </a:lnTo>
                  <a:lnTo>
                    <a:pt x="346" y="269"/>
                  </a:lnTo>
                  <a:lnTo>
                    <a:pt x="395" y="186"/>
                  </a:lnTo>
                  <a:lnTo>
                    <a:pt x="416" y="143"/>
                  </a:lnTo>
                  <a:lnTo>
                    <a:pt x="426" y="108"/>
                  </a:lnTo>
                  <a:lnTo>
                    <a:pt x="427" y="81"/>
                  </a:lnTo>
                  <a:lnTo>
                    <a:pt x="420" y="58"/>
                  </a:lnTo>
                  <a:lnTo>
                    <a:pt x="404" y="38"/>
                  </a:lnTo>
                  <a:lnTo>
                    <a:pt x="393" y="29"/>
                  </a:lnTo>
                  <a:lnTo>
                    <a:pt x="378" y="17"/>
                  </a:lnTo>
                  <a:lnTo>
                    <a:pt x="353" y="3"/>
                  </a:lnTo>
                  <a:lnTo>
                    <a:pt x="330" y="0"/>
                  </a:lnTo>
                  <a:lnTo>
                    <a:pt x="304" y="9"/>
                  </a:lnTo>
                  <a:lnTo>
                    <a:pt x="288" y="1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99" name="Freeform 44"/>
            <p:cNvSpPr>
              <a:spLocks noEditPoints="1"/>
            </p:cNvSpPr>
            <p:nvPr/>
          </p:nvSpPr>
          <p:spPr bwMode="auto">
            <a:xfrm>
              <a:off x="3897" y="2082"/>
              <a:ext cx="1367" cy="2065"/>
            </a:xfrm>
            <a:custGeom>
              <a:avLst/>
              <a:gdLst>
                <a:gd name="T0" fmla="*/ 934 w 3245"/>
                <a:gd name="T1" fmla="*/ 132 h 4906"/>
                <a:gd name="T2" fmla="*/ 430 w 3245"/>
                <a:gd name="T3" fmla="*/ 484 h 4906"/>
                <a:gd name="T4" fmla="*/ 123 w 3245"/>
                <a:gd name="T5" fmla="*/ 969 h 4906"/>
                <a:gd name="T6" fmla="*/ 1 w 3245"/>
                <a:gd name="T7" fmla="*/ 1688 h 4906"/>
                <a:gd name="T8" fmla="*/ 179 w 3245"/>
                <a:gd name="T9" fmla="*/ 2364 h 4906"/>
                <a:gd name="T10" fmla="*/ 598 w 3245"/>
                <a:gd name="T11" fmla="*/ 2951 h 4906"/>
                <a:gd name="T12" fmla="*/ 940 w 3245"/>
                <a:gd name="T13" fmla="*/ 3495 h 4906"/>
                <a:gd name="T14" fmla="*/ 962 w 3245"/>
                <a:gd name="T15" fmla="*/ 3694 h 4906"/>
                <a:gd name="T16" fmla="*/ 918 w 3245"/>
                <a:gd name="T17" fmla="*/ 3840 h 4906"/>
                <a:gd name="T18" fmla="*/ 1020 w 3245"/>
                <a:gd name="T19" fmla="*/ 3946 h 4906"/>
                <a:gd name="T20" fmla="*/ 973 w 3245"/>
                <a:gd name="T21" fmla="*/ 4077 h 4906"/>
                <a:gd name="T22" fmla="*/ 897 w 3245"/>
                <a:gd name="T23" fmla="*/ 4159 h 4906"/>
                <a:gd name="T24" fmla="*/ 968 w 3245"/>
                <a:gd name="T25" fmla="*/ 4284 h 4906"/>
                <a:gd name="T26" fmla="*/ 1036 w 3245"/>
                <a:gd name="T27" fmla="*/ 4377 h 4906"/>
                <a:gd name="T28" fmla="*/ 1196 w 3245"/>
                <a:gd name="T29" fmla="*/ 4705 h 4906"/>
                <a:gd name="T30" fmla="*/ 1463 w 3245"/>
                <a:gd name="T31" fmla="*/ 4885 h 4906"/>
                <a:gd name="T32" fmla="*/ 1830 w 3245"/>
                <a:gd name="T33" fmla="*/ 4869 h 4906"/>
                <a:gd name="T34" fmla="*/ 2132 w 3245"/>
                <a:gd name="T35" fmla="*/ 4640 h 4906"/>
                <a:gd name="T36" fmla="*/ 2253 w 3245"/>
                <a:gd name="T37" fmla="*/ 4486 h 4906"/>
                <a:gd name="T38" fmla="*/ 2388 w 3245"/>
                <a:gd name="T39" fmla="*/ 4372 h 4906"/>
                <a:gd name="T40" fmla="*/ 2278 w 3245"/>
                <a:gd name="T41" fmla="*/ 4259 h 4906"/>
                <a:gd name="T42" fmla="*/ 2259 w 3245"/>
                <a:gd name="T43" fmla="*/ 4143 h 4906"/>
                <a:gd name="T44" fmla="*/ 2378 w 3245"/>
                <a:gd name="T45" fmla="*/ 4040 h 4906"/>
                <a:gd name="T46" fmla="*/ 2305 w 3245"/>
                <a:gd name="T47" fmla="*/ 3899 h 4906"/>
                <a:gd name="T48" fmla="*/ 2256 w 3245"/>
                <a:gd name="T49" fmla="*/ 3801 h 4906"/>
                <a:gd name="T50" fmla="*/ 2366 w 3245"/>
                <a:gd name="T51" fmla="*/ 3687 h 4906"/>
                <a:gd name="T52" fmla="*/ 2361 w 3245"/>
                <a:gd name="T53" fmla="*/ 3531 h 4906"/>
                <a:gd name="T54" fmla="*/ 2364 w 3245"/>
                <a:gd name="T55" fmla="*/ 3372 h 4906"/>
                <a:gd name="T56" fmla="*/ 2866 w 3245"/>
                <a:gd name="T57" fmla="*/ 2691 h 4906"/>
                <a:gd name="T58" fmla="*/ 3200 w 3245"/>
                <a:gd name="T59" fmla="*/ 2034 h 4906"/>
                <a:gd name="T60" fmla="*/ 3244 w 3245"/>
                <a:gd name="T61" fmla="*/ 1498 h 4906"/>
                <a:gd name="T62" fmla="*/ 3113 w 3245"/>
                <a:gd name="T63" fmla="*/ 932 h 4906"/>
                <a:gd name="T64" fmla="*/ 2685 w 3245"/>
                <a:gd name="T65" fmla="*/ 388 h 4906"/>
                <a:gd name="T66" fmla="*/ 1992 w 3245"/>
                <a:gd name="T67" fmla="*/ 49 h 4906"/>
                <a:gd name="T68" fmla="*/ 2010 w 3245"/>
                <a:gd name="T69" fmla="*/ 266 h 4906"/>
                <a:gd name="T70" fmla="*/ 2597 w 3245"/>
                <a:gd name="T71" fmla="*/ 583 h 4906"/>
                <a:gd name="T72" fmla="*/ 2977 w 3245"/>
                <a:gd name="T73" fmla="*/ 1141 h 4906"/>
                <a:gd name="T74" fmla="*/ 3045 w 3245"/>
                <a:gd name="T75" fmla="*/ 1733 h 4906"/>
                <a:gd name="T76" fmla="*/ 2702 w 3245"/>
                <a:gd name="T77" fmla="*/ 2568 h 4906"/>
                <a:gd name="T78" fmla="*/ 2260 w 3245"/>
                <a:gd name="T79" fmla="*/ 3132 h 4906"/>
                <a:gd name="T80" fmla="*/ 2104 w 3245"/>
                <a:gd name="T81" fmla="*/ 3493 h 4906"/>
                <a:gd name="T82" fmla="*/ 1466 w 3245"/>
                <a:gd name="T83" fmla="*/ 3614 h 4906"/>
                <a:gd name="T84" fmla="*/ 1152 w 3245"/>
                <a:gd name="T85" fmla="*/ 3470 h 4906"/>
                <a:gd name="T86" fmla="*/ 837 w 3245"/>
                <a:gd name="T87" fmla="*/ 2916 h 4906"/>
                <a:gd name="T88" fmla="*/ 385 w 3245"/>
                <a:gd name="T89" fmla="*/ 2314 h 4906"/>
                <a:gd name="T90" fmla="*/ 211 w 3245"/>
                <a:gd name="T91" fmla="*/ 1758 h 4906"/>
                <a:gd name="T92" fmla="*/ 326 w 3245"/>
                <a:gd name="T93" fmla="*/ 1014 h 4906"/>
                <a:gd name="T94" fmla="*/ 789 w 3245"/>
                <a:gd name="T95" fmla="*/ 445 h 4906"/>
                <a:gd name="T96" fmla="*/ 1388 w 3245"/>
                <a:gd name="T97" fmla="*/ 220 h 4906"/>
                <a:gd name="T98" fmla="*/ 1966 w 3245"/>
                <a:gd name="T99" fmla="*/ 253 h 4906"/>
                <a:gd name="T100" fmla="*/ 2014 w 3245"/>
                <a:gd name="T101" fmla="*/ 3923 h 4906"/>
                <a:gd name="T102" fmla="*/ 1221 w 3245"/>
                <a:gd name="T103" fmla="*/ 3959 h 4906"/>
                <a:gd name="T104" fmla="*/ 2025 w 3245"/>
                <a:gd name="T105" fmla="*/ 3760 h 4906"/>
                <a:gd name="T106" fmla="*/ 2055 w 3245"/>
                <a:gd name="T107" fmla="*/ 4287 h 4906"/>
                <a:gd name="T108" fmla="*/ 1230 w 3245"/>
                <a:gd name="T109" fmla="*/ 4306 h 4906"/>
                <a:gd name="T110" fmla="*/ 2047 w 3245"/>
                <a:gd name="T111" fmla="*/ 4153 h 4906"/>
                <a:gd name="T112" fmla="*/ 1766 w 3245"/>
                <a:gd name="T113" fmla="*/ 4675 h 4906"/>
                <a:gd name="T114" fmla="*/ 1453 w 3245"/>
                <a:gd name="T115" fmla="*/ 4657 h 4906"/>
                <a:gd name="T116" fmla="*/ 1414 w 3245"/>
                <a:gd name="T117" fmla="*/ 4589 h 4906"/>
                <a:gd name="T118" fmla="*/ 1893 w 3245"/>
                <a:gd name="T119" fmla="*/ 4592 h 4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45" h="4906">
                  <a:moveTo>
                    <a:pt x="1396" y="11"/>
                  </a:moveTo>
                  <a:lnTo>
                    <a:pt x="1342" y="17"/>
                  </a:lnTo>
                  <a:lnTo>
                    <a:pt x="1235" y="36"/>
                  </a:lnTo>
                  <a:lnTo>
                    <a:pt x="1132" y="61"/>
                  </a:lnTo>
                  <a:lnTo>
                    <a:pt x="1031" y="93"/>
                  </a:lnTo>
                  <a:lnTo>
                    <a:pt x="934" y="132"/>
                  </a:lnTo>
                  <a:lnTo>
                    <a:pt x="840" y="176"/>
                  </a:lnTo>
                  <a:lnTo>
                    <a:pt x="749" y="226"/>
                  </a:lnTo>
                  <a:lnTo>
                    <a:pt x="663" y="283"/>
                  </a:lnTo>
                  <a:lnTo>
                    <a:pt x="581" y="344"/>
                  </a:lnTo>
                  <a:lnTo>
                    <a:pt x="503" y="412"/>
                  </a:lnTo>
                  <a:lnTo>
                    <a:pt x="430" y="484"/>
                  </a:lnTo>
                  <a:lnTo>
                    <a:pt x="362" y="562"/>
                  </a:lnTo>
                  <a:lnTo>
                    <a:pt x="299" y="644"/>
                  </a:lnTo>
                  <a:lnTo>
                    <a:pt x="242" y="731"/>
                  </a:lnTo>
                  <a:lnTo>
                    <a:pt x="190" y="823"/>
                  </a:lnTo>
                  <a:lnTo>
                    <a:pt x="144" y="919"/>
                  </a:lnTo>
                  <a:lnTo>
                    <a:pt x="123" y="969"/>
                  </a:lnTo>
                  <a:lnTo>
                    <a:pt x="90" y="1053"/>
                  </a:lnTo>
                  <a:lnTo>
                    <a:pt x="43" y="1206"/>
                  </a:lnTo>
                  <a:lnTo>
                    <a:pt x="14" y="1355"/>
                  </a:lnTo>
                  <a:lnTo>
                    <a:pt x="1" y="1513"/>
                  </a:lnTo>
                  <a:lnTo>
                    <a:pt x="0" y="1601"/>
                  </a:lnTo>
                  <a:lnTo>
                    <a:pt x="1" y="1688"/>
                  </a:lnTo>
                  <a:lnTo>
                    <a:pt x="14" y="1845"/>
                  </a:lnTo>
                  <a:lnTo>
                    <a:pt x="43" y="1994"/>
                  </a:lnTo>
                  <a:lnTo>
                    <a:pt x="90" y="2149"/>
                  </a:lnTo>
                  <a:lnTo>
                    <a:pt x="123" y="2234"/>
                  </a:lnTo>
                  <a:lnTo>
                    <a:pt x="141" y="2279"/>
                  </a:lnTo>
                  <a:lnTo>
                    <a:pt x="179" y="2364"/>
                  </a:lnTo>
                  <a:lnTo>
                    <a:pt x="221" y="2446"/>
                  </a:lnTo>
                  <a:lnTo>
                    <a:pt x="269" y="2528"/>
                  </a:lnTo>
                  <a:lnTo>
                    <a:pt x="325" y="2612"/>
                  </a:lnTo>
                  <a:lnTo>
                    <a:pt x="389" y="2700"/>
                  </a:lnTo>
                  <a:lnTo>
                    <a:pt x="503" y="2842"/>
                  </a:lnTo>
                  <a:lnTo>
                    <a:pt x="598" y="2951"/>
                  </a:lnTo>
                  <a:lnTo>
                    <a:pt x="654" y="3015"/>
                  </a:lnTo>
                  <a:lnTo>
                    <a:pt x="753" y="3144"/>
                  </a:lnTo>
                  <a:lnTo>
                    <a:pt x="835" y="3268"/>
                  </a:lnTo>
                  <a:lnTo>
                    <a:pt x="897" y="3386"/>
                  </a:lnTo>
                  <a:lnTo>
                    <a:pt x="920" y="3441"/>
                  </a:lnTo>
                  <a:lnTo>
                    <a:pt x="940" y="3495"/>
                  </a:lnTo>
                  <a:lnTo>
                    <a:pt x="970" y="3587"/>
                  </a:lnTo>
                  <a:lnTo>
                    <a:pt x="984" y="3654"/>
                  </a:lnTo>
                  <a:lnTo>
                    <a:pt x="984" y="3682"/>
                  </a:lnTo>
                  <a:lnTo>
                    <a:pt x="979" y="3692"/>
                  </a:lnTo>
                  <a:lnTo>
                    <a:pt x="975" y="3692"/>
                  </a:lnTo>
                  <a:lnTo>
                    <a:pt x="962" y="3694"/>
                  </a:lnTo>
                  <a:lnTo>
                    <a:pt x="938" y="3711"/>
                  </a:lnTo>
                  <a:lnTo>
                    <a:pt x="918" y="3739"/>
                  </a:lnTo>
                  <a:lnTo>
                    <a:pt x="906" y="3773"/>
                  </a:lnTo>
                  <a:lnTo>
                    <a:pt x="905" y="3791"/>
                  </a:lnTo>
                  <a:lnTo>
                    <a:pt x="906" y="3808"/>
                  </a:lnTo>
                  <a:lnTo>
                    <a:pt x="918" y="3840"/>
                  </a:lnTo>
                  <a:lnTo>
                    <a:pt x="940" y="3868"/>
                  </a:lnTo>
                  <a:lnTo>
                    <a:pt x="973" y="3890"/>
                  </a:lnTo>
                  <a:lnTo>
                    <a:pt x="993" y="3897"/>
                  </a:lnTo>
                  <a:lnTo>
                    <a:pt x="1001" y="3901"/>
                  </a:lnTo>
                  <a:lnTo>
                    <a:pt x="1012" y="3913"/>
                  </a:lnTo>
                  <a:lnTo>
                    <a:pt x="1020" y="3946"/>
                  </a:lnTo>
                  <a:lnTo>
                    <a:pt x="1021" y="3984"/>
                  </a:lnTo>
                  <a:lnTo>
                    <a:pt x="1021" y="4008"/>
                  </a:lnTo>
                  <a:lnTo>
                    <a:pt x="1018" y="4041"/>
                  </a:lnTo>
                  <a:lnTo>
                    <a:pt x="1008" y="4060"/>
                  </a:lnTo>
                  <a:lnTo>
                    <a:pt x="988" y="4072"/>
                  </a:lnTo>
                  <a:lnTo>
                    <a:pt x="973" y="4077"/>
                  </a:lnTo>
                  <a:lnTo>
                    <a:pt x="962" y="4082"/>
                  </a:lnTo>
                  <a:lnTo>
                    <a:pt x="941" y="4095"/>
                  </a:lnTo>
                  <a:lnTo>
                    <a:pt x="923" y="4112"/>
                  </a:lnTo>
                  <a:lnTo>
                    <a:pt x="908" y="4133"/>
                  </a:lnTo>
                  <a:lnTo>
                    <a:pt x="903" y="4144"/>
                  </a:lnTo>
                  <a:lnTo>
                    <a:pt x="897" y="4159"/>
                  </a:lnTo>
                  <a:lnTo>
                    <a:pt x="892" y="4183"/>
                  </a:lnTo>
                  <a:lnTo>
                    <a:pt x="895" y="4203"/>
                  </a:lnTo>
                  <a:lnTo>
                    <a:pt x="907" y="4225"/>
                  </a:lnTo>
                  <a:lnTo>
                    <a:pt x="916" y="4239"/>
                  </a:lnTo>
                  <a:lnTo>
                    <a:pt x="932" y="4257"/>
                  </a:lnTo>
                  <a:lnTo>
                    <a:pt x="968" y="4284"/>
                  </a:lnTo>
                  <a:lnTo>
                    <a:pt x="985" y="4289"/>
                  </a:lnTo>
                  <a:lnTo>
                    <a:pt x="994" y="4291"/>
                  </a:lnTo>
                  <a:lnTo>
                    <a:pt x="1009" y="4302"/>
                  </a:lnTo>
                  <a:lnTo>
                    <a:pt x="1021" y="4322"/>
                  </a:lnTo>
                  <a:lnTo>
                    <a:pt x="1031" y="4355"/>
                  </a:lnTo>
                  <a:lnTo>
                    <a:pt x="1036" y="4377"/>
                  </a:lnTo>
                  <a:lnTo>
                    <a:pt x="1050" y="4451"/>
                  </a:lnTo>
                  <a:lnTo>
                    <a:pt x="1055" y="4501"/>
                  </a:lnTo>
                  <a:lnTo>
                    <a:pt x="1056" y="4511"/>
                  </a:lnTo>
                  <a:lnTo>
                    <a:pt x="1071" y="4543"/>
                  </a:lnTo>
                  <a:lnTo>
                    <a:pt x="1113" y="4606"/>
                  </a:lnTo>
                  <a:lnTo>
                    <a:pt x="1196" y="4705"/>
                  </a:lnTo>
                  <a:lnTo>
                    <a:pt x="1262" y="4771"/>
                  </a:lnTo>
                  <a:lnTo>
                    <a:pt x="1303" y="4806"/>
                  </a:lnTo>
                  <a:lnTo>
                    <a:pt x="1321" y="4819"/>
                  </a:lnTo>
                  <a:lnTo>
                    <a:pt x="1348" y="4836"/>
                  </a:lnTo>
                  <a:lnTo>
                    <a:pt x="1404" y="4864"/>
                  </a:lnTo>
                  <a:lnTo>
                    <a:pt x="1463" y="4885"/>
                  </a:lnTo>
                  <a:lnTo>
                    <a:pt x="1523" y="4898"/>
                  </a:lnTo>
                  <a:lnTo>
                    <a:pt x="1584" y="4905"/>
                  </a:lnTo>
                  <a:lnTo>
                    <a:pt x="1646" y="4906"/>
                  </a:lnTo>
                  <a:lnTo>
                    <a:pt x="1708" y="4900"/>
                  </a:lnTo>
                  <a:lnTo>
                    <a:pt x="1770" y="4887"/>
                  </a:lnTo>
                  <a:lnTo>
                    <a:pt x="1830" y="4869"/>
                  </a:lnTo>
                  <a:lnTo>
                    <a:pt x="1888" y="4844"/>
                  </a:lnTo>
                  <a:lnTo>
                    <a:pt x="1944" y="4814"/>
                  </a:lnTo>
                  <a:lnTo>
                    <a:pt x="1997" y="4778"/>
                  </a:lnTo>
                  <a:lnTo>
                    <a:pt x="2046" y="4737"/>
                  </a:lnTo>
                  <a:lnTo>
                    <a:pt x="2091" y="4691"/>
                  </a:lnTo>
                  <a:lnTo>
                    <a:pt x="2132" y="4640"/>
                  </a:lnTo>
                  <a:lnTo>
                    <a:pt x="2166" y="4584"/>
                  </a:lnTo>
                  <a:lnTo>
                    <a:pt x="2181" y="4554"/>
                  </a:lnTo>
                  <a:lnTo>
                    <a:pt x="2190" y="4537"/>
                  </a:lnTo>
                  <a:lnTo>
                    <a:pt x="2207" y="4512"/>
                  </a:lnTo>
                  <a:lnTo>
                    <a:pt x="2227" y="4496"/>
                  </a:lnTo>
                  <a:lnTo>
                    <a:pt x="2253" y="4486"/>
                  </a:lnTo>
                  <a:lnTo>
                    <a:pt x="2270" y="4482"/>
                  </a:lnTo>
                  <a:lnTo>
                    <a:pt x="2298" y="4476"/>
                  </a:lnTo>
                  <a:lnTo>
                    <a:pt x="2342" y="4457"/>
                  </a:lnTo>
                  <a:lnTo>
                    <a:pt x="2372" y="4429"/>
                  </a:lnTo>
                  <a:lnTo>
                    <a:pt x="2387" y="4394"/>
                  </a:lnTo>
                  <a:lnTo>
                    <a:pt x="2388" y="4372"/>
                  </a:lnTo>
                  <a:lnTo>
                    <a:pt x="2386" y="4352"/>
                  </a:lnTo>
                  <a:lnTo>
                    <a:pt x="2370" y="4312"/>
                  </a:lnTo>
                  <a:lnTo>
                    <a:pt x="2341" y="4280"/>
                  </a:lnTo>
                  <a:lnTo>
                    <a:pt x="2306" y="4261"/>
                  </a:lnTo>
                  <a:lnTo>
                    <a:pt x="2288" y="4259"/>
                  </a:lnTo>
                  <a:lnTo>
                    <a:pt x="2278" y="4259"/>
                  </a:lnTo>
                  <a:lnTo>
                    <a:pt x="2265" y="4253"/>
                  </a:lnTo>
                  <a:lnTo>
                    <a:pt x="2258" y="4238"/>
                  </a:lnTo>
                  <a:lnTo>
                    <a:pt x="2255" y="4212"/>
                  </a:lnTo>
                  <a:lnTo>
                    <a:pt x="2255" y="4192"/>
                  </a:lnTo>
                  <a:lnTo>
                    <a:pt x="2255" y="4171"/>
                  </a:lnTo>
                  <a:lnTo>
                    <a:pt x="2259" y="4143"/>
                  </a:lnTo>
                  <a:lnTo>
                    <a:pt x="2271" y="4124"/>
                  </a:lnTo>
                  <a:lnTo>
                    <a:pt x="2295" y="4110"/>
                  </a:lnTo>
                  <a:lnTo>
                    <a:pt x="2313" y="4102"/>
                  </a:lnTo>
                  <a:lnTo>
                    <a:pt x="2331" y="4093"/>
                  </a:lnTo>
                  <a:lnTo>
                    <a:pt x="2359" y="4069"/>
                  </a:lnTo>
                  <a:lnTo>
                    <a:pt x="2378" y="4040"/>
                  </a:lnTo>
                  <a:lnTo>
                    <a:pt x="2386" y="4008"/>
                  </a:lnTo>
                  <a:lnTo>
                    <a:pt x="2385" y="3976"/>
                  </a:lnTo>
                  <a:lnTo>
                    <a:pt x="2374" y="3946"/>
                  </a:lnTo>
                  <a:lnTo>
                    <a:pt x="2354" y="3921"/>
                  </a:lnTo>
                  <a:lnTo>
                    <a:pt x="2324" y="3904"/>
                  </a:lnTo>
                  <a:lnTo>
                    <a:pt x="2305" y="3899"/>
                  </a:lnTo>
                  <a:lnTo>
                    <a:pt x="2289" y="3895"/>
                  </a:lnTo>
                  <a:lnTo>
                    <a:pt x="2269" y="3887"/>
                  </a:lnTo>
                  <a:lnTo>
                    <a:pt x="2258" y="3871"/>
                  </a:lnTo>
                  <a:lnTo>
                    <a:pt x="2255" y="3844"/>
                  </a:lnTo>
                  <a:lnTo>
                    <a:pt x="2255" y="3824"/>
                  </a:lnTo>
                  <a:lnTo>
                    <a:pt x="2256" y="3801"/>
                  </a:lnTo>
                  <a:lnTo>
                    <a:pt x="2267" y="3759"/>
                  </a:lnTo>
                  <a:lnTo>
                    <a:pt x="2287" y="3728"/>
                  </a:lnTo>
                  <a:lnTo>
                    <a:pt x="2314" y="3711"/>
                  </a:lnTo>
                  <a:lnTo>
                    <a:pt x="2330" y="3709"/>
                  </a:lnTo>
                  <a:lnTo>
                    <a:pt x="2341" y="3707"/>
                  </a:lnTo>
                  <a:lnTo>
                    <a:pt x="2366" y="3687"/>
                  </a:lnTo>
                  <a:lnTo>
                    <a:pt x="2389" y="3655"/>
                  </a:lnTo>
                  <a:lnTo>
                    <a:pt x="2403" y="3620"/>
                  </a:lnTo>
                  <a:lnTo>
                    <a:pt x="2405" y="3604"/>
                  </a:lnTo>
                  <a:lnTo>
                    <a:pt x="2402" y="3589"/>
                  </a:lnTo>
                  <a:lnTo>
                    <a:pt x="2378" y="3549"/>
                  </a:lnTo>
                  <a:lnTo>
                    <a:pt x="2361" y="3531"/>
                  </a:lnTo>
                  <a:lnTo>
                    <a:pt x="2347" y="3516"/>
                  </a:lnTo>
                  <a:lnTo>
                    <a:pt x="2331" y="3495"/>
                  </a:lnTo>
                  <a:lnTo>
                    <a:pt x="2327" y="3474"/>
                  </a:lnTo>
                  <a:lnTo>
                    <a:pt x="2336" y="3443"/>
                  </a:lnTo>
                  <a:lnTo>
                    <a:pt x="2345" y="3419"/>
                  </a:lnTo>
                  <a:lnTo>
                    <a:pt x="2364" y="3372"/>
                  </a:lnTo>
                  <a:lnTo>
                    <a:pt x="2419" y="3270"/>
                  </a:lnTo>
                  <a:lnTo>
                    <a:pt x="2495" y="3155"/>
                  </a:lnTo>
                  <a:lnTo>
                    <a:pt x="2597" y="3023"/>
                  </a:lnTo>
                  <a:lnTo>
                    <a:pt x="2658" y="2949"/>
                  </a:lnTo>
                  <a:lnTo>
                    <a:pt x="2729" y="2863"/>
                  </a:lnTo>
                  <a:lnTo>
                    <a:pt x="2866" y="2691"/>
                  </a:lnTo>
                  <a:lnTo>
                    <a:pt x="2908" y="2634"/>
                  </a:lnTo>
                  <a:lnTo>
                    <a:pt x="2949" y="2574"/>
                  </a:lnTo>
                  <a:lnTo>
                    <a:pt x="3033" y="2428"/>
                  </a:lnTo>
                  <a:lnTo>
                    <a:pt x="3111" y="2267"/>
                  </a:lnTo>
                  <a:lnTo>
                    <a:pt x="3176" y="2107"/>
                  </a:lnTo>
                  <a:lnTo>
                    <a:pt x="3200" y="2034"/>
                  </a:lnTo>
                  <a:lnTo>
                    <a:pt x="3214" y="1986"/>
                  </a:lnTo>
                  <a:lnTo>
                    <a:pt x="3232" y="1906"/>
                  </a:lnTo>
                  <a:lnTo>
                    <a:pt x="3241" y="1819"/>
                  </a:lnTo>
                  <a:lnTo>
                    <a:pt x="3245" y="1696"/>
                  </a:lnTo>
                  <a:lnTo>
                    <a:pt x="3245" y="1609"/>
                  </a:lnTo>
                  <a:lnTo>
                    <a:pt x="3244" y="1498"/>
                  </a:lnTo>
                  <a:lnTo>
                    <a:pt x="3237" y="1360"/>
                  </a:lnTo>
                  <a:lnTo>
                    <a:pt x="3226" y="1279"/>
                  </a:lnTo>
                  <a:lnTo>
                    <a:pt x="3212" y="1202"/>
                  </a:lnTo>
                  <a:lnTo>
                    <a:pt x="3191" y="1128"/>
                  </a:lnTo>
                  <a:lnTo>
                    <a:pt x="3150" y="1015"/>
                  </a:lnTo>
                  <a:lnTo>
                    <a:pt x="3113" y="932"/>
                  </a:lnTo>
                  <a:lnTo>
                    <a:pt x="3086" y="875"/>
                  </a:lnTo>
                  <a:lnTo>
                    <a:pt x="3023" y="765"/>
                  </a:lnTo>
                  <a:lnTo>
                    <a:pt x="2951" y="661"/>
                  </a:lnTo>
                  <a:lnTo>
                    <a:pt x="2870" y="563"/>
                  </a:lnTo>
                  <a:lnTo>
                    <a:pt x="2781" y="472"/>
                  </a:lnTo>
                  <a:lnTo>
                    <a:pt x="2685" y="388"/>
                  </a:lnTo>
                  <a:lnTo>
                    <a:pt x="2583" y="311"/>
                  </a:lnTo>
                  <a:lnTo>
                    <a:pt x="2474" y="242"/>
                  </a:lnTo>
                  <a:lnTo>
                    <a:pt x="2360" y="181"/>
                  </a:lnTo>
                  <a:lnTo>
                    <a:pt x="2242" y="128"/>
                  </a:lnTo>
                  <a:lnTo>
                    <a:pt x="2119" y="84"/>
                  </a:lnTo>
                  <a:lnTo>
                    <a:pt x="1992" y="49"/>
                  </a:lnTo>
                  <a:lnTo>
                    <a:pt x="1863" y="23"/>
                  </a:lnTo>
                  <a:lnTo>
                    <a:pt x="1731" y="6"/>
                  </a:lnTo>
                  <a:lnTo>
                    <a:pt x="1598" y="0"/>
                  </a:lnTo>
                  <a:lnTo>
                    <a:pt x="1464" y="4"/>
                  </a:lnTo>
                  <a:lnTo>
                    <a:pt x="1396" y="11"/>
                  </a:lnTo>
                  <a:close/>
                  <a:moveTo>
                    <a:pt x="2010" y="266"/>
                  </a:moveTo>
                  <a:lnTo>
                    <a:pt x="2072" y="285"/>
                  </a:lnTo>
                  <a:lnTo>
                    <a:pt x="2190" y="330"/>
                  </a:lnTo>
                  <a:lnTo>
                    <a:pt x="2302" y="383"/>
                  </a:lnTo>
                  <a:lnTo>
                    <a:pt x="2408" y="443"/>
                  </a:lnTo>
                  <a:lnTo>
                    <a:pt x="2506" y="510"/>
                  </a:lnTo>
                  <a:lnTo>
                    <a:pt x="2597" y="583"/>
                  </a:lnTo>
                  <a:lnTo>
                    <a:pt x="2681" y="663"/>
                  </a:lnTo>
                  <a:lnTo>
                    <a:pt x="2757" y="749"/>
                  </a:lnTo>
                  <a:lnTo>
                    <a:pt x="2825" y="839"/>
                  </a:lnTo>
                  <a:lnTo>
                    <a:pt x="2884" y="936"/>
                  </a:lnTo>
                  <a:lnTo>
                    <a:pt x="2935" y="1036"/>
                  </a:lnTo>
                  <a:lnTo>
                    <a:pt x="2977" y="1141"/>
                  </a:lnTo>
                  <a:lnTo>
                    <a:pt x="3010" y="1251"/>
                  </a:lnTo>
                  <a:lnTo>
                    <a:pt x="3034" y="1363"/>
                  </a:lnTo>
                  <a:lnTo>
                    <a:pt x="3048" y="1479"/>
                  </a:lnTo>
                  <a:lnTo>
                    <a:pt x="3052" y="1598"/>
                  </a:lnTo>
                  <a:lnTo>
                    <a:pt x="3050" y="1659"/>
                  </a:lnTo>
                  <a:lnTo>
                    <a:pt x="3045" y="1733"/>
                  </a:lnTo>
                  <a:lnTo>
                    <a:pt x="3025" y="1876"/>
                  </a:lnTo>
                  <a:lnTo>
                    <a:pt x="2991" y="2015"/>
                  </a:lnTo>
                  <a:lnTo>
                    <a:pt x="2942" y="2152"/>
                  </a:lnTo>
                  <a:lnTo>
                    <a:pt x="2879" y="2288"/>
                  </a:lnTo>
                  <a:lnTo>
                    <a:pt x="2799" y="2426"/>
                  </a:lnTo>
                  <a:lnTo>
                    <a:pt x="2702" y="2568"/>
                  </a:lnTo>
                  <a:lnTo>
                    <a:pt x="2587" y="2716"/>
                  </a:lnTo>
                  <a:lnTo>
                    <a:pt x="2521" y="2792"/>
                  </a:lnTo>
                  <a:lnTo>
                    <a:pt x="2456" y="2869"/>
                  </a:lnTo>
                  <a:lnTo>
                    <a:pt x="2331" y="3029"/>
                  </a:lnTo>
                  <a:lnTo>
                    <a:pt x="2290" y="3086"/>
                  </a:lnTo>
                  <a:lnTo>
                    <a:pt x="2260" y="3132"/>
                  </a:lnTo>
                  <a:lnTo>
                    <a:pt x="2197" y="3248"/>
                  </a:lnTo>
                  <a:lnTo>
                    <a:pt x="2142" y="3366"/>
                  </a:lnTo>
                  <a:lnTo>
                    <a:pt x="2115" y="3437"/>
                  </a:lnTo>
                  <a:lnTo>
                    <a:pt x="2106" y="3471"/>
                  </a:lnTo>
                  <a:lnTo>
                    <a:pt x="2105" y="3482"/>
                  </a:lnTo>
                  <a:lnTo>
                    <a:pt x="2104" y="3493"/>
                  </a:lnTo>
                  <a:lnTo>
                    <a:pt x="2094" y="3513"/>
                  </a:lnTo>
                  <a:lnTo>
                    <a:pt x="2086" y="3519"/>
                  </a:lnTo>
                  <a:lnTo>
                    <a:pt x="2073" y="3524"/>
                  </a:lnTo>
                  <a:lnTo>
                    <a:pt x="1992" y="3540"/>
                  </a:lnTo>
                  <a:lnTo>
                    <a:pt x="1792" y="3571"/>
                  </a:lnTo>
                  <a:lnTo>
                    <a:pt x="1466" y="3614"/>
                  </a:lnTo>
                  <a:lnTo>
                    <a:pt x="1274" y="3634"/>
                  </a:lnTo>
                  <a:lnTo>
                    <a:pt x="1202" y="3638"/>
                  </a:lnTo>
                  <a:lnTo>
                    <a:pt x="1195" y="3636"/>
                  </a:lnTo>
                  <a:lnTo>
                    <a:pt x="1185" y="3598"/>
                  </a:lnTo>
                  <a:lnTo>
                    <a:pt x="1163" y="3512"/>
                  </a:lnTo>
                  <a:lnTo>
                    <a:pt x="1152" y="3470"/>
                  </a:lnTo>
                  <a:lnTo>
                    <a:pt x="1125" y="3388"/>
                  </a:lnTo>
                  <a:lnTo>
                    <a:pt x="1091" y="3306"/>
                  </a:lnTo>
                  <a:lnTo>
                    <a:pt x="1050" y="3225"/>
                  </a:lnTo>
                  <a:lnTo>
                    <a:pt x="1001" y="3141"/>
                  </a:lnTo>
                  <a:lnTo>
                    <a:pt x="942" y="3055"/>
                  </a:lnTo>
                  <a:lnTo>
                    <a:pt x="837" y="2916"/>
                  </a:lnTo>
                  <a:lnTo>
                    <a:pt x="750" y="2814"/>
                  </a:lnTo>
                  <a:lnTo>
                    <a:pt x="694" y="2749"/>
                  </a:lnTo>
                  <a:lnTo>
                    <a:pt x="597" y="2629"/>
                  </a:lnTo>
                  <a:lnTo>
                    <a:pt x="513" y="2518"/>
                  </a:lnTo>
                  <a:lnTo>
                    <a:pt x="443" y="2414"/>
                  </a:lnTo>
                  <a:lnTo>
                    <a:pt x="385" y="2314"/>
                  </a:lnTo>
                  <a:lnTo>
                    <a:pt x="336" y="2214"/>
                  </a:lnTo>
                  <a:lnTo>
                    <a:pt x="295" y="2113"/>
                  </a:lnTo>
                  <a:lnTo>
                    <a:pt x="261" y="2008"/>
                  </a:lnTo>
                  <a:lnTo>
                    <a:pt x="246" y="1952"/>
                  </a:lnTo>
                  <a:lnTo>
                    <a:pt x="231" y="1888"/>
                  </a:lnTo>
                  <a:lnTo>
                    <a:pt x="211" y="1758"/>
                  </a:lnTo>
                  <a:lnTo>
                    <a:pt x="202" y="1629"/>
                  </a:lnTo>
                  <a:lnTo>
                    <a:pt x="205" y="1501"/>
                  </a:lnTo>
                  <a:lnTo>
                    <a:pt x="219" y="1374"/>
                  </a:lnTo>
                  <a:lnTo>
                    <a:pt x="244" y="1251"/>
                  </a:lnTo>
                  <a:lnTo>
                    <a:pt x="280" y="1130"/>
                  </a:lnTo>
                  <a:lnTo>
                    <a:pt x="326" y="1014"/>
                  </a:lnTo>
                  <a:lnTo>
                    <a:pt x="381" y="902"/>
                  </a:lnTo>
                  <a:lnTo>
                    <a:pt x="445" y="796"/>
                  </a:lnTo>
                  <a:lnTo>
                    <a:pt x="519" y="697"/>
                  </a:lnTo>
                  <a:lnTo>
                    <a:pt x="601" y="605"/>
                  </a:lnTo>
                  <a:lnTo>
                    <a:pt x="691" y="520"/>
                  </a:lnTo>
                  <a:lnTo>
                    <a:pt x="789" y="445"/>
                  </a:lnTo>
                  <a:lnTo>
                    <a:pt x="894" y="378"/>
                  </a:lnTo>
                  <a:lnTo>
                    <a:pt x="1006" y="322"/>
                  </a:lnTo>
                  <a:lnTo>
                    <a:pt x="1065" y="299"/>
                  </a:lnTo>
                  <a:lnTo>
                    <a:pt x="1134" y="274"/>
                  </a:lnTo>
                  <a:lnTo>
                    <a:pt x="1260" y="239"/>
                  </a:lnTo>
                  <a:lnTo>
                    <a:pt x="1388" y="220"/>
                  </a:lnTo>
                  <a:lnTo>
                    <a:pt x="1538" y="214"/>
                  </a:lnTo>
                  <a:lnTo>
                    <a:pt x="1630" y="216"/>
                  </a:lnTo>
                  <a:lnTo>
                    <a:pt x="1698" y="218"/>
                  </a:lnTo>
                  <a:lnTo>
                    <a:pt x="1803" y="224"/>
                  </a:lnTo>
                  <a:lnTo>
                    <a:pt x="1887" y="235"/>
                  </a:lnTo>
                  <a:lnTo>
                    <a:pt x="1966" y="253"/>
                  </a:lnTo>
                  <a:lnTo>
                    <a:pt x="2010" y="266"/>
                  </a:lnTo>
                  <a:close/>
                  <a:moveTo>
                    <a:pt x="2055" y="3832"/>
                  </a:moveTo>
                  <a:lnTo>
                    <a:pt x="2054" y="3863"/>
                  </a:lnTo>
                  <a:lnTo>
                    <a:pt x="2046" y="3908"/>
                  </a:lnTo>
                  <a:lnTo>
                    <a:pt x="2040" y="3916"/>
                  </a:lnTo>
                  <a:lnTo>
                    <a:pt x="2014" y="3923"/>
                  </a:lnTo>
                  <a:lnTo>
                    <a:pt x="1817" y="3955"/>
                  </a:lnTo>
                  <a:lnTo>
                    <a:pt x="1676" y="3976"/>
                  </a:lnTo>
                  <a:lnTo>
                    <a:pt x="1395" y="4016"/>
                  </a:lnTo>
                  <a:lnTo>
                    <a:pt x="1276" y="4034"/>
                  </a:lnTo>
                  <a:lnTo>
                    <a:pt x="1221" y="4044"/>
                  </a:lnTo>
                  <a:lnTo>
                    <a:pt x="1221" y="3959"/>
                  </a:lnTo>
                  <a:lnTo>
                    <a:pt x="1222" y="3895"/>
                  </a:lnTo>
                  <a:lnTo>
                    <a:pt x="1226" y="3874"/>
                  </a:lnTo>
                  <a:lnTo>
                    <a:pt x="1332" y="3857"/>
                  </a:lnTo>
                  <a:lnTo>
                    <a:pt x="1897" y="3775"/>
                  </a:lnTo>
                  <a:lnTo>
                    <a:pt x="2010" y="3761"/>
                  </a:lnTo>
                  <a:lnTo>
                    <a:pt x="2025" y="3760"/>
                  </a:lnTo>
                  <a:lnTo>
                    <a:pt x="2043" y="3764"/>
                  </a:lnTo>
                  <a:lnTo>
                    <a:pt x="2052" y="3778"/>
                  </a:lnTo>
                  <a:lnTo>
                    <a:pt x="2055" y="3808"/>
                  </a:lnTo>
                  <a:lnTo>
                    <a:pt x="2055" y="3832"/>
                  </a:lnTo>
                  <a:close/>
                  <a:moveTo>
                    <a:pt x="2055" y="4216"/>
                  </a:moveTo>
                  <a:lnTo>
                    <a:pt x="2055" y="4287"/>
                  </a:lnTo>
                  <a:lnTo>
                    <a:pt x="1668" y="4334"/>
                  </a:lnTo>
                  <a:lnTo>
                    <a:pt x="1364" y="4370"/>
                  </a:lnTo>
                  <a:lnTo>
                    <a:pt x="1265" y="4382"/>
                  </a:lnTo>
                  <a:lnTo>
                    <a:pt x="1259" y="4379"/>
                  </a:lnTo>
                  <a:lnTo>
                    <a:pt x="1244" y="4349"/>
                  </a:lnTo>
                  <a:lnTo>
                    <a:pt x="1230" y="4306"/>
                  </a:lnTo>
                  <a:lnTo>
                    <a:pt x="1224" y="4271"/>
                  </a:lnTo>
                  <a:lnTo>
                    <a:pt x="1226" y="4264"/>
                  </a:lnTo>
                  <a:lnTo>
                    <a:pt x="1610" y="4204"/>
                  </a:lnTo>
                  <a:lnTo>
                    <a:pt x="2035" y="4144"/>
                  </a:lnTo>
                  <a:lnTo>
                    <a:pt x="2039" y="4144"/>
                  </a:lnTo>
                  <a:lnTo>
                    <a:pt x="2047" y="4153"/>
                  </a:lnTo>
                  <a:lnTo>
                    <a:pt x="2054" y="4182"/>
                  </a:lnTo>
                  <a:lnTo>
                    <a:pt x="2055" y="4216"/>
                  </a:lnTo>
                  <a:close/>
                  <a:moveTo>
                    <a:pt x="1893" y="4592"/>
                  </a:moveTo>
                  <a:lnTo>
                    <a:pt x="1870" y="4613"/>
                  </a:lnTo>
                  <a:lnTo>
                    <a:pt x="1819" y="4649"/>
                  </a:lnTo>
                  <a:lnTo>
                    <a:pt x="1766" y="4675"/>
                  </a:lnTo>
                  <a:lnTo>
                    <a:pt x="1711" y="4692"/>
                  </a:lnTo>
                  <a:lnTo>
                    <a:pt x="1654" y="4701"/>
                  </a:lnTo>
                  <a:lnTo>
                    <a:pt x="1596" y="4700"/>
                  </a:lnTo>
                  <a:lnTo>
                    <a:pt x="1538" y="4690"/>
                  </a:lnTo>
                  <a:lnTo>
                    <a:pt x="1481" y="4671"/>
                  </a:lnTo>
                  <a:lnTo>
                    <a:pt x="1453" y="4657"/>
                  </a:lnTo>
                  <a:lnTo>
                    <a:pt x="1422" y="4641"/>
                  </a:lnTo>
                  <a:lnTo>
                    <a:pt x="1394" y="4623"/>
                  </a:lnTo>
                  <a:lnTo>
                    <a:pt x="1385" y="4613"/>
                  </a:lnTo>
                  <a:lnTo>
                    <a:pt x="1383" y="4604"/>
                  </a:lnTo>
                  <a:lnTo>
                    <a:pt x="1390" y="4597"/>
                  </a:lnTo>
                  <a:lnTo>
                    <a:pt x="1414" y="4589"/>
                  </a:lnTo>
                  <a:lnTo>
                    <a:pt x="1441" y="4584"/>
                  </a:lnTo>
                  <a:lnTo>
                    <a:pt x="1605" y="4561"/>
                  </a:lnTo>
                  <a:lnTo>
                    <a:pt x="1849" y="4531"/>
                  </a:lnTo>
                  <a:lnTo>
                    <a:pt x="1905" y="4527"/>
                  </a:lnTo>
                  <a:lnTo>
                    <a:pt x="1963" y="4527"/>
                  </a:lnTo>
                  <a:lnTo>
                    <a:pt x="1893" y="459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00" name="Freeform 45"/>
            <p:cNvSpPr>
              <a:spLocks/>
            </p:cNvSpPr>
            <p:nvPr/>
          </p:nvSpPr>
          <p:spPr bwMode="auto">
            <a:xfrm>
              <a:off x="4510" y="2476"/>
              <a:ext cx="139" cy="541"/>
            </a:xfrm>
            <a:custGeom>
              <a:avLst/>
              <a:gdLst>
                <a:gd name="T0" fmla="*/ 88 w 330"/>
                <a:gd name="T1" fmla="*/ 9 h 1286"/>
                <a:gd name="T2" fmla="*/ 69 w 330"/>
                <a:gd name="T3" fmla="*/ 14 h 1286"/>
                <a:gd name="T4" fmla="*/ 39 w 330"/>
                <a:gd name="T5" fmla="*/ 27 h 1286"/>
                <a:gd name="T6" fmla="*/ 17 w 330"/>
                <a:gd name="T7" fmla="*/ 48 h 1286"/>
                <a:gd name="T8" fmla="*/ 5 w 330"/>
                <a:gd name="T9" fmla="*/ 85 h 1286"/>
                <a:gd name="T10" fmla="*/ 0 w 330"/>
                <a:gd name="T11" fmla="*/ 147 h 1286"/>
                <a:gd name="T12" fmla="*/ 3 w 330"/>
                <a:gd name="T13" fmla="*/ 241 h 1286"/>
                <a:gd name="T14" fmla="*/ 20 w 330"/>
                <a:gd name="T15" fmla="*/ 454 h 1286"/>
                <a:gd name="T16" fmla="*/ 40 w 330"/>
                <a:gd name="T17" fmla="*/ 672 h 1286"/>
                <a:gd name="T18" fmla="*/ 57 w 330"/>
                <a:gd name="T19" fmla="*/ 861 h 1286"/>
                <a:gd name="T20" fmla="*/ 81 w 330"/>
                <a:gd name="T21" fmla="*/ 1100 h 1286"/>
                <a:gd name="T22" fmla="*/ 98 w 330"/>
                <a:gd name="T23" fmla="*/ 1218 h 1286"/>
                <a:gd name="T24" fmla="*/ 112 w 330"/>
                <a:gd name="T25" fmla="*/ 1253 h 1286"/>
                <a:gd name="T26" fmla="*/ 123 w 330"/>
                <a:gd name="T27" fmla="*/ 1266 h 1286"/>
                <a:gd name="T28" fmla="*/ 130 w 330"/>
                <a:gd name="T29" fmla="*/ 1271 h 1286"/>
                <a:gd name="T30" fmla="*/ 141 w 330"/>
                <a:gd name="T31" fmla="*/ 1278 h 1286"/>
                <a:gd name="T32" fmla="*/ 159 w 330"/>
                <a:gd name="T33" fmla="*/ 1286 h 1286"/>
                <a:gd name="T34" fmla="*/ 174 w 330"/>
                <a:gd name="T35" fmla="*/ 1286 h 1286"/>
                <a:gd name="T36" fmla="*/ 192 w 330"/>
                <a:gd name="T37" fmla="*/ 1278 h 1286"/>
                <a:gd name="T38" fmla="*/ 203 w 330"/>
                <a:gd name="T39" fmla="*/ 1271 h 1286"/>
                <a:gd name="T40" fmla="*/ 210 w 330"/>
                <a:gd name="T41" fmla="*/ 1266 h 1286"/>
                <a:gd name="T42" fmla="*/ 221 w 330"/>
                <a:gd name="T43" fmla="*/ 1254 h 1286"/>
                <a:gd name="T44" fmla="*/ 234 w 330"/>
                <a:gd name="T45" fmla="*/ 1221 h 1286"/>
                <a:gd name="T46" fmla="*/ 250 w 330"/>
                <a:gd name="T47" fmla="*/ 1116 h 1286"/>
                <a:gd name="T48" fmla="*/ 271 w 330"/>
                <a:gd name="T49" fmla="*/ 905 h 1286"/>
                <a:gd name="T50" fmla="*/ 286 w 330"/>
                <a:gd name="T51" fmla="*/ 739 h 1286"/>
                <a:gd name="T52" fmla="*/ 306 w 330"/>
                <a:gd name="T53" fmla="*/ 515 h 1286"/>
                <a:gd name="T54" fmla="*/ 328 w 330"/>
                <a:gd name="T55" fmla="*/ 232 h 1286"/>
                <a:gd name="T56" fmla="*/ 330 w 330"/>
                <a:gd name="T57" fmla="*/ 122 h 1286"/>
                <a:gd name="T58" fmla="*/ 326 w 330"/>
                <a:gd name="T59" fmla="*/ 79 h 1286"/>
                <a:gd name="T60" fmla="*/ 318 w 330"/>
                <a:gd name="T61" fmla="*/ 54 h 1286"/>
                <a:gd name="T62" fmla="*/ 305 w 330"/>
                <a:gd name="T63" fmla="*/ 40 h 1286"/>
                <a:gd name="T64" fmla="*/ 296 w 330"/>
                <a:gd name="T65" fmla="*/ 34 h 1286"/>
                <a:gd name="T66" fmla="*/ 275 w 330"/>
                <a:gd name="T67" fmla="*/ 23 h 1286"/>
                <a:gd name="T68" fmla="*/ 224 w 330"/>
                <a:gd name="T69" fmla="*/ 7 h 1286"/>
                <a:gd name="T70" fmla="*/ 168 w 330"/>
                <a:gd name="T71" fmla="*/ 0 h 1286"/>
                <a:gd name="T72" fmla="*/ 113 w 330"/>
                <a:gd name="T73" fmla="*/ 3 h 1286"/>
                <a:gd name="T74" fmla="*/ 88 w 330"/>
                <a:gd name="T75" fmla="*/ 9 h 1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0" h="1286">
                  <a:moveTo>
                    <a:pt x="88" y="9"/>
                  </a:moveTo>
                  <a:lnTo>
                    <a:pt x="69" y="14"/>
                  </a:lnTo>
                  <a:lnTo>
                    <a:pt x="39" y="27"/>
                  </a:lnTo>
                  <a:lnTo>
                    <a:pt x="17" y="48"/>
                  </a:lnTo>
                  <a:lnTo>
                    <a:pt x="5" y="85"/>
                  </a:lnTo>
                  <a:lnTo>
                    <a:pt x="0" y="147"/>
                  </a:lnTo>
                  <a:lnTo>
                    <a:pt x="3" y="241"/>
                  </a:lnTo>
                  <a:lnTo>
                    <a:pt x="20" y="454"/>
                  </a:lnTo>
                  <a:lnTo>
                    <a:pt x="40" y="672"/>
                  </a:lnTo>
                  <a:lnTo>
                    <a:pt x="57" y="861"/>
                  </a:lnTo>
                  <a:lnTo>
                    <a:pt x="81" y="1100"/>
                  </a:lnTo>
                  <a:lnTo>
                    <a:pt x="98" y="1218"/>
                  </a:lnTo>
                  <a:lnTo>
                    <a:pt x="112" y="1253"/>
                  </a:lnTo>
                  <a:lnTo>
                    <a:pt x="123" y="1266"/>
                  </a:lnTo>
                  <a:lnTo>
                    <a:pt x="130" y="1271"/>
                  </a:lnTo>
                  <a:lnTo>
                    <a:pt x="141" y="1278"/>
                  </a:lnTo>
                  <a:lnTo>
                    <a:pt x="159" y="1286"/>
                  </a:lnTo>
                  <a:lnTo>
                    <a:pt x="174" y="1286"/>
                  </a:lnTo>
                  <a:lnTo>
                    <a:pt x="192" y="1278"/>
                  </a:lnTo>
                  <a:lnTo>
                    <a:pt x="203" y="1271"/>
                  </a:lnTo>
                  <a:lnTo>
                    <a:pt x="210" y="1266"/>
                  </a:lnTo>
                  <a:lnTo>
                    <a:pt x="221" y="1254"/>
                  </a:lnTo>
                  <a:lnTo>
                    <a:pt x="234" y="1221"/>
                  </a:lnTo>
                  <a:lnTo>
                    <a:pt x="250" y="1116"/>
                  </a:lnTo>
                  <a:lnTo>
                    <a:pt x="271" y="905"/>
                  </a:lnTo>
                  <a:lnTo>
                    <a:pt x="286" y="739"/>
                  </a:lnTo>
                  <a:lnTo>
                    <a:pt x="306" y="515"/>
                  </a:lnTo>
                  <a:lnTo>
                    <a:pt x="328" y="232"/>
                  </a:lnTo>
                  <a:lnTo>
                    <a:pt x="330" y="122"/>
                  </a:lnTo>
                  <a:lnTo>
                    <a:pt x="326" y="79"/>
                  </a:lnTo>
                  <a:lnTo>
                    <a:pt x="318" y="54"/>
                  </a:lnTo>
                  <a:lnTo>
                    <a:pt x="305" y="40"/>
                  </a:lnTo>
                  <a:lnTo>
                    <a:pt x="296" y="34"/>
                  </a:lnTo>
                  <a:lnTo>
                    <a:pt x="275" y="23"/>
                  </a:lnTo>
                  <a:lnTo>
                    <a:pt x="224" y="7"/>
                  </a:lnTo>
                  <a:lnTo>
                    <a:pt x="168" y="0"/>
                  </a:lnTo>
                  <a:lnTo>
                    <a:pt x="113" y="3"/>
                  </a:lnTo>
                  <a:lnTo>
                    <a:pt x="88" y="9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01" name="Freeform 46"/>
            <p:cNvSpPr>
              <a:spLocks/>
            </p:cNvSpPr>
            <p:nvPr/>
          </p:nvSpPr>
          <p:spPr bwMode="auto">
            <a:xfrm>
              <a:off x="4530" y="3057"/>
              <a:ext cx="99" cy="103"/>
            </a:xfrm>
            <a:custGeom>
              <a:avLst/>
              <a:gdLst>
                <a:gd name="T0" fmla="*/ 84 w 234"/>
                <a:gd name="T1" fmla="*/ 6 h 245"/>
                <a:gd name="T2" fmla="*/ 69 w 234"/>
                <a:gd name="T3" fmla="*/ 12 h 245"/>
                <a:gd name="T4" fmla="*/ 42 w 234"/>
                <a:gd name="T5" fmla="*/ 31 h 245"/>
                <a:gd name="T6" fmla="*/ 22 w 234"/>
                <a:gd name="T7" fmla="*/ 54 h 245"/>
                <a:gd name="T8" fmla="*/ 8 w 234"/>
                <a:gd name="T9" fmla="*/ 82 h 245"/>
                <a:gd name="T10" fmla="*/ 0 w 234"/>
                <a:gd name="T11" fmla="*/ 111 h 245"/>
                <a:gd name="T12" fmla="*/ 0 w 234"/>
                <a:gd name="T13" fmla="*/ 141 h 245"/>
                <a:gd name="T14" fmla="*/ 7 w 234"/>
                <a:gd name="T15" fmla="*/ 171 h 245"/>
                <a:gd name="T16" fmla="*/ 23 w 234"/>
                <a:gd name="T17" fmla="*/ 198 h 245"/>
                <a:gd name="T18" fmla="*/ 34 w 234"/>
                <a:gd name="T19" fmla="*/ 211 h 245"/>
                <a:gd name="T20" fmla="*/ 48 w 234"/>
                <a:gd name="T21" fmla="*/ 224 h 245"/>
                <a:gd name="T22" fmla="*/ 80 w 234"/>
                <a:gd name="T23" fmla="*/ 240 h 245"/>
                <a:gd name="T24" fmla="*/ 114 w 234"/>
                <a:gd name="T25" fmla="*/ 245 h 245"/>
                <a:gd name="T26" fmla="*/ 147 w 234"/>
                <a:gd name="T27" fmla="*/ 241 h 245"/>
                <a:gd name="T28" fmla="*/ 177 w 234"/>
                <a:gd name="T29" fmla="*/ 227 h 245"/>
                <a:gd name="T30" fmla="*/ 203 w 234"/>
                <a:gd name="T31" fmla="*/ 205 h 245"/>
                <a:gd name="T32" fmla="*/ 222 w 234"/>
                <a:gd name="T33" fmla="*/ 177 h 245"/>
                <a:gd name="T34" fmla="*/ 233 w 234"/>
                <a:gd name="T35" fmla="*/ 142 h 245"/>
                <a:gd name="T36" fmla="*/ 234 w 234"/>
                <a:gd name="T37" fmla="*/ 122 h 245"/>
                <a:gd name="T38" fmla="*/ 233 w 234"/>
                <a:gd name="T39" fmla="*/ 108 h 245"/>
                <a:gd name="T40" fmla="*/ 226 w 234"/>
                <a:gd name="T41" fmla="*/ 80 h 245"/>
                <a:gd name="T42" fmla="*/ 213 w 234"/>
                <a:gd name="T43" fmla="*/ 55 h 245"/>
                <a:gd name="T44" fmla="*/ 195 w 234"/>
                <a:gd name="T45" fmla="*/ 34 h 245"/>
                <a:gd name="T46" fmla="*/ 173 w 234"/>
                <a:gd name="T47" fmla="*/ 17 h 245"/>
                <a:gd name="T48" fmla="*/ 149 w 234"/>
                <a:gd name="T49" fmla="*/ 6 h 245"/>
                <a:gd name="T50" fmla="*/ 123 w 234"/>
                <a:gd name="T51" fmla="*/ 0 h 245"/>
                <a:gd name="T52" fmla="*/ 97 w 234"/>
                <a:gd name="T53" fmla="*/ 2 h 245"/>
                <a:gd name="T54" fmla="*/ 84 w 234"/>
                <a:gd name="T55" fmla="*/ 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4" h="245">
                  <a:moveTo>
                    <a:pt x="84" y="6"/>
                  </a:moveTo>
                  <a:lnTo>
                    <a:pt x="69" y="12"/>
                  </a:lnTo>
                  <a:lnTo>
                    <a:pt x="42" y="31"/>
                  </a:lnTo>
                  <a:lnTo>
                    <a:pt x="22" y="54"/>
                  </a:lnTo>
                  <a:lnTo>
                    <a:pt x="8" y="82"/>
                  </a:lnTo>
                  <a:lnTo>
                    <a:pt x="0" y="111"/>
                  </a:lnTo>
                  <a:lnTo>
                    <a:pt x="0" y="141"/>
                  </a:lnTo>
                  <a:lnTo>
                    <a:pt x="7" y="171"/>
                  </a:lnTo>
                  <a:lnTo>
                    <a:pt x="23" y="198"/>
                  </a:lnTo>
                  <a:lnTo>
                    <a:pt x="34" y="211"/>
                  </a:lnTo>
                  <a:lnTo>
                    <a:pt x="48" y="224"/>
                  </a:lnTo>
                  <a:lnTo>
                    <a:pt x="80" y="240"/>
                  </a:lnTo>
                  <a:lnTo>
                    <a:pt x="114" y="245"/>
                  </a:lnTo>
                  <a:lnTo>
                    <a:pt x="147" y="241"/>
                  </a:lnTo>
                  <a:lnTo>
                    <a:pt x="177" y="227"/>
                  </a:lnTo>
                  <a:lnTo>
                    <a:pt x="203" y="205"/>
                  </a:lnTo>
                  <a:lnTo>
                    <a:pt x="222" y="177"/>
                  </a:lnTo>
                  <a:lnTo>
                    <a:pt x="233" y="142"/>
                  </a:lnTo>
                  <a:lnTo>
                    <a:pt x="234" y="122"/>
                  </a:lnTo>
                  <a:lnTo>
                    <a:pt x="233" y="108"/>
                  </a:lnTo>
                  <a:lnTo>
                    <a:pt x="226" y="80"/>
                  </a:lnTo>
                  <a:lnTo>
                    <a:pt x="213" y="55"/>
                  </a:lnTo>
                  <a:lnTo>
                    <a:pt x="195" y="34"/>
                  </a:lnTo>
                  <a:lnTo>
                    <a:pt x="173" y="17"/>
                  </a:lnTo>
                  <a:lnTo>
                    <a:pt x="149" y="6"/>
                  </a:lnTo>
                  <a:lnTo>
                    <a:pt x="123" y="0"/>
                  </a:lnTo>
                  <a:lnTo>
                    <a:pt x="97" y="2"/>
                  </a:lnTo>
                  <a:lnTo>
                    <a:pt x="84" y="6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02" name="Freeform 47"/>
            <p:cNvSpPr>
              <a:spLocks/>
            </p:cNvSpPr>
            <p:nvPr/>
          </p:nvSpPr>
          <p:spPr bwMode="auto">
            <a:xfrm>
              <a:off x="5468" y="2670"/>
              <a:ext cx="262" cy="105"/>
            </a:xfrm>
            <a:custGeom>
              <a:avLst/>
              <a:gdLst>
                <a:gd name="T0" fmla="*/ 243 w 622"/>
                <a:gd name="T1" fmla="*/ 22 h 249"/>
                <a:gd name="T2" fmla="*/ 164 w 622"/>
                <a:gd name="T3" fmla="*/ 32 h 249"/>
                <a:gd name="T4" fmla="*/ 75 w 622"/>
                <a:gd name="T5" fmla="*/ 49 h 249"/>
                <a:gd name="T6" fmla="*/ 40 w 622"/>
                <a:gd name="T7" fmla="*/ 60 h 249"/>
                <a:gd name="T8" fmla="*/ 33 w 622"/>
                <a:gd name="T9" fmla="*/ 65 h 249"/>
                <a:gd name="T10" fmla="*/ 18 w 622"/>
                <a:gd name="T11" fmla="*/ 82 h 249"/>
                <a:gd name="T12" fmla="*/ 1 w 622"/>
                <a:gd name="T13" fmla="*/ 117 h 249"/>
                <a:gd name="T14" fmla="*/ 0 w 622"/>
                <a:gd name="T15" fmla="*/ 151 h 249"/>
                <a:gd name="T16" fmla="*/ 15 w 622"/>
                <a:gd name="T17" fmla="*/ 186 h 249"/>
                <a:gd name="T18" fmla="*/ 30 w 622"/>
                <a:gd name="T19" fmla="*/ 204 h 249"/>
                <a:gd name="T20" fmla="*/ 68 w 622"/>
                <a:gd name="T21" fmla="*/ 249 h 249"/>
                <a:gd name="T22" fmla="*/ 316 w 622"/>
                <a:gd name="T23" fmla="*/ 222 h 249"/>
                <a:gd name="T24" fmla="*/ 455 w 622"/>
                <a:gd name="T25" fmla="*/ 206 h 249"/>
                <a:gd name="T26" fmla="*/ 554 w 622"/>
                <a:gd name="T27" fmla="*/ 187 h 249"/>
                <a:gd name="T28" fmla="*/ 586 w 622"/>
                <a:gd name="T29" fmla="*/ 171 h 249"/>
                <a:gd name="T30" fmla="*/ 596 w 622"/>
                <a:gd name="T31" fmla="*/ 160 h 249"/>
                <a:gd name="T32" fmla="*/ 609 w 622"/>
                <a:gd name="T33" fmla="*/ 143 h 249"/>
                <a:gd name="T34" fmla="*/ 622 w 622"/>
                <a:gd name="T35" fmla="*/ 109 h 249"/>
                <a:gd name="T36" fmla="*/ 622 w 622"/>
                <a:gd name="T37" fmla="*/ 76 h 249"/>
                <a:gd name="T38" fmla="*/ 606 w 622"/>
                <a:gd name="T39" fmla="*/ 44 h 249"/>
                <a:gd name="T40" fmla="*/ 591 w 622"/>
                <a:gd name="T41" fmla="*/ 29 h 249"/>
                <a:gd name="T42" fmla="*/ 577 w 622"/>
                <a:gd name="T43" fmla="*/ 15 h 249"/>
                <a:gd name="T44" fmla="*/ 539 w 622"/>
                <a:gd name="T45" fmla="*/ 1 h 249"/>
                <a:gd name="T46" fmla="*/ 468 w 622"/>
                <a:gd name="T47" fmla="*/ 0 h 249"/>
                <a:gd name="T48" fmla="*/ 340 w 622"/>
                <a:gd name="T49" fmla="*/ 11 h 249"/>
                <a:gd name="T50" fmla="*/ 243 w 622"/>
                <a:gd name="T51" fmla="*/ 2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2" h="249">
                  <a:moveTo>
                    <a:pt x="243" y="22"/>
                  </a:moveTo>
                  <a:lnTo>
                    <a:pt x="164" y="32"/>
                  </a:lnTo>
                  <a:lnTo>
                    <a:pt x="75" y="49"/>
                  </a:lnTo>
                  <a:lnTo>
                    <a:pt x="40" y="60"/>
                  </a:lnTo>
                  <a:lnTo>
                    <a:pt x="33" y="65"/>
                  </a:lnTo>
                  <a:lnTo>
                    <a:pt x="18" y="82"/>
                  </a:lnTo>
                  <a:lnTo>
                    <a:pt x="1" y="117"/>
                  </a:lnTo>
                  <a:lnTo>
                    <a:pt x="0" y="151"/>
                  </a:lnTo>
                  <a:lnTo>
                    <a:pt x="15" y="186"/>
                  </a:lnTo>
                  <a:lnTo>
                    <a:pt x="30" y="204"/>
                  </a:lnTo>
                  <a:lnTo>
                    <a:pt x="68" y="249"/>
                  </a:lnTo>
                  <a:lnTo>
                    <a:pt x="316" y="222"/>
                  </a:lnTo>
                  <a:lnTo>
                    <a:pt x="455" y="206"/>
                  </a:lnTo>
                  <a:lnTo>
                    <a:pt x="554" y="187"/>
                  </a:lnTo>
                  <a:lnTo>
                    <a:pt x="586" y="171"/>
                  </a:lnTo>
                  <a:lnTo>
                    <a:pt x="596" y="160"/>
                  </a:lnTo>
                  <a:lnTo>
                    <a:pt x="609" y="143"/>
                  </a:lnTo>
                  <a:lnTo>
                    <a:pt x="622" y="109"/>
                  </a:lnTo>
                  <a:lnTo>
                    <a:pt x="622" y="76"/>
                  </a:lnTo>
                  <a:lnTo>
                    <a:pt x="606" y="44"/>
                  </a:lnTo>
                  <a:lnTo>
                    <a:pt x="591" y="29"/>
                  </a:lnTo>
                  <a:lnTo>
                    <a:pt x="577" y="15"/>
                  </a:lnTo>
                  <a:lnTo>
                    <a:pt x="539" y="1"/>
                  </a:lnTo>
                  <a:lnTo>
                    <a:pt x="468" y="0"/>
                  </a:lnTo>
                  <a:lnTo>
                    <a:pt x="340" y="11"/>
                  </a:lnTo>
                  <a:lnTo>
                    <a:pt x="243" y="2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03" name="Freeform 48"/>
            <p:cNvSpPr>
              <a:spLocks/>
            </p:cNvSpPr>
            <p:nvPr/>
          </p:nvSpPr>
          <p:spPr bwMode="auto">
            <a:xfrm>
              <a:off x="3424" y="2754"/>
              <a:ext cx="263" cy="88"/>
            </a:xfrm>
            <a:custGeom>
              <a:avLst/>
              <a:gdLst>
                <a:gd name="T0" fmla="*/ 120 w 626"/>
                <a:gd name="T1" fmla="*/ 12 h 210"/>
                <a:gd name="T2" fmla="*/ 97 w 626"/>
                <a:gd name="T3" fmla="*/ 16 h 210"/>
                <a:gd name="T4" fmla="*/ 62 w 626"/>
                <a:gd name="T5" fmla="*/ 24 h 210"/>
                <a:gd name="T6" fmla="*/ 38 w 626"/>
                <a:gd name="T7" fmla="*/ 36 h 210"/>
                <a:gd name="T8" fmla="*/ 21 w 626"/>
                <a:gd name="T9" fmla="*/ 54 h 210"/>
                <a:gd name="T10" fmla="*/ 14 w 626"/>
                <a:gd name="T11" fmla="*/ 67 h 210"/>
                <a:gd name="T12" fmla="*/ 8 w 626"/>
                <a:gd name="T13" fmla="*/ 78 h 210"/>
                <a:gd name="T14" fmla="*/ 2 w 626"/>
                <a:gd name="T15" fmla="*/ 100 h 210"/>
                <a:gd name="T16" fmla="*/ 0 w 626"/>
                <a:gd name="T17" fmla="*/ 122 h 210"/>
                <a:gd name="T18" fmla="*/ 3 w 626"/>
                <a:gd name="T19" fmla="*/ 143 h 210"/>
                <a:gd name="T20" fmla="*/ 11 w 626"/>
                <a:gd name="T21" fmla="*/ 163 h 210"/>
                <a:gd name="T22" fmla="*/ 23 w 626"/>
                <a:gd name="T23" fmla="*/ 180 h 210"/>
                <a:gd name="T24" fmla="*/ 39 w 626"/>
                <a:gd name="T25" fmla="*/ 194 h 210"/>
                <a:gd name="T26" fmla="*/ 59 w 626"/>
                <a:gd name="T27" fmla="*/ 204 h 210"/>
                <a:gd name="T28" fmla="*/ 70 w 626"/>
                <a:gd name="T29" fmla="*/ 207 h 210"/>
                <a:gd name="T30" fmla="*/ 100 w 626"/>
                <a:gd name="T31" fmla="*/ 210 h 210"/>
                <a:gd name="T32" fmla="*/ 246 w 626"/>
                <a:gd name="T33" fmla="*/ 210 h 210"/>
                <a:gd name="T34" fmla="*/ 339 w 626"/>
                <a:gd name="T35" fmla="*/ 206 h 210"/>
                <a:gd name="T36" fmla="*/ 463 w 626"/>
                <a:gd name="T37" fmla="*/ 199 h 210"/>
                <a:gd name="T38" fmla="*/ 555 w 626"/>
                <a:gd name="T39" fmla="*/ 185 h 210"/>
                <a:gd name="T40" fmla="*/ 587 w 626"/>
                <a:gd name="T41" fmla="*/ 172 h 210"/>
                <a:gd name="T42" fmla="*/ 597 w 626"/>
                <a:gd name="T43" fmla="*/ 162 h 210"/>
                <a:gd name="T44" fmla="*/ 611 w 626"/>
                <a:gd name="T45" fmla="*/ 146 h 210"/>
                <a:gd name="T46" fmla="*/ 626 w 626"/>
                <a:gd name="T47" fmla="*/ 113 h 210"/>
                <a:gd name="T48" fmla="*/ 626 w 626"/>
                <a:gd name="T49" fmla="*/ 80 h 210"/>
                <a:gd name="T50" fmla="*/ 610 w 626"/>
                <a:gd name="T51" fmla="*/ 46 h 210"/>
                <a:gd name="T52" fmla="*/ 595 w 626"/>
                <a:gd name="T53" fmla="*/ 31 h 210"/>
                <a:gd name="T54" fmla="*/ 584 w 626"/>
                <a:gd name="T55" fmla="*/ 20 h 210"/>
                <a:gd name="T56" fmla="*/ 558 w 626"/>
                <a:gd name="T57" fmla="*/ 7 h 210"/>
                <a:gd name="T58" fmla="*/ 514 w 626"/>
                <a:gd name="T59" fmla="*/ 1 h 210"/>
                <a:gd name="T60" fmla="*/ 439 w 626"/>
                <a:gd name="T61" fmla="*/ 0 h 210"/>
                <a:gd name="T62" fmla="*/ 384 w 626"/>
                <a:gd name="T63" fmla="*/ 1 h 210"/>
                <a:gd name="T64" fmla="*/ 307 w 626"/>
                <a:gd name="T65" fmla="*/ 1 h 210"/>
                <a:gd name="T66" fmla="*/ 164 w 626"/>
                <a:gd name="T67" fmla="*/ 8 h 210"/>
                <a:gd name="T68" fmla="*/ 120 w 626"/>
                <a:gd name="T69" fmla="*/ 1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26" h="210">
                  <a:moveTo>
                    <a:pt x="120" y="12"/>
                  </a:moveTo>
                  <a:lnTo>
                    <a:pt x="97" y="16"/>
                  </a:lnTo>
                  <a:lnTo>
                    <a:pt x="62" y="24"/>
                  </a:lnTo>
                  <a:lnTo>
                    <a:pt x="38" y="36"/>
                  </a:lnTo>
                  <a:lnTo>
                    <a:pt x="21" y="54"/>
                  </a:lnTo>
                  <a:lnTo>
                    <a:pt x="14" y="67"/>
                  </a:lnTo>
                  <a:lnTo>
                    <a:pt x="8" y="78"/>
                  </a:lnTo>
                  <a:lnTo>
                    <a:pt x="2" y="100"/>
                  </a:lnTo>
                  <a:lnTo>
                    <a:pt x="0" y="122"/>
                  </a:lnTo>
                  <a:lnTo>
                    <a:pt x="3" y="143"/>
                  </a:lnTo>
                  <a:lnTo>
                    <a:pt x="11" y="163"/>
                  </a:lnTo>
                  <a:lnTo>
                    <a:pt x="23" y="180"/>
                  </a:lnTo>
                  <a:lnTo>
                    <a:pt x="39" y="194"/>
                  </a:lnTo>
                  <a:lnTo>
                    <a:pt x="59" y="204"/>
                  </a:lnTo>
                  <a:lnTo>
                    <a:pt x="70" y="207"/>
                  </a:lnTo>
                  <a:lnTo>
                    <a:pt x="100" y="210"/>
                  </a:lnTo>
                  <a:lnTo>
                    <a:pt x="246" y="210"/>
                  </a:lnTo>
                  <a:lnTo>
                    <a:pt x="339" y="206"/>
                  </a:lnTo>
                  <a:lnTo>
                    <a:pt x="463" y="199"/>
                  </a:lnTo>
                  <a:lnTo>
                    <a:pt x="555" y="185"/>
                  </a:lnTo>
                  <a:lnTo>
                    <a:pt x="587" y="172"/>
                  </a:lnTo>
                  <a:lnTo>
                    <a:pt x="597" y="162"/>
                  </a:lnTo>
                  <a:lnTo>
                    <a:pt x="611" y="146"/>
                  </a:lnTo>
                  <a:lnTo>
                    <a:pt x="626" y="113"/>
                  </a:lnTo>
                  <a:lnTo>
                    <a:pt x="626" y="80"/>
                  </a:lnTo>
                  <a:lnTo>
                    <a:pt x="610" y="46"/>
                  </a:lnTo>
                  <a:lnTo>
                    <a:pt x="595" y="31"/>
                  </a:lnTo>
                  <a:lnTo>
                    <a:pt x="584" y="20"/>
                  </a:lnTo>
                  <a:lnTo>
                    <a:pt x="558" y="7"/>
                  </a:lnTo>
                  <a:lnTo>
                    <a:pt x="514" y="1"/>
                  </a:lnTo>
                  <a:lnTo>
                    <a:pt x="439" y="0"/>
                  </a:lnTo>
                  <a:lnTo>
                    <a:pt x="384" y="1"/>
                  </a:lnTo>
                  <a:lnTo>
                    <a:pt x="307" y="1"/>
                  </a:lnTo>
                  <a:lnTo>
                    <a:pt x="164" y="8"/>
                  </a:lnTo>
                  <a:lnTo>
                    <a:pt x="120" y="1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105" name="Group 51"/>
          <p:cNvGrpSpPr>
            <a:grpSpLocks noChangeAspect="1"/>
          </p:cNvGrpSpPr>
          <p:nvPr/>
        </p:nvGrpSpPr>
        <p:grpSpPr bwMode="auto">
          <a:xfrm>
            <a:off x="1009497" y="3966058"/>
            <a:ext cx="836513" cy="836195"/>
            <a:chOff x="3369" y="1689"/>
            <a:chExt cx="2632" cy="2631"/>
          </a:xfrm>
        </p:grpSpPr>
        <p:sp>
          <p:nvSpPr>
            <p:cNvPr id="106" name="AutoShape 50"/>
            <p:cNvSpPr>
              <a:spLocks noChangeAspect="1" noChangeArrowheads="1" noTextEdit="1"/>
            </p:cNvSpPr>
            <p:nvPr/>
          </p:nvSpPr>
          <p:spPr bwMode="auto">
            <a:xfrm>
              <a:off x="3369" y="1689"/>
              <a:ext cx="2632" cy="26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07" name="Freeform 52"/>
            <p:cNvSpPr>
              <a:spLocks noEditPoints="1"/>
            </p:cNvSpPr>
            <p:nvPr/>
          </p:nvSpPr>
          <p:spPr bwMode="auto">
            <a:xfrm>
              <a:off x="3565" y="1859"/>
              <a:ext cx="2204" cy="2281"/>
            </a:xfrm>
            <a:custGeom>
              <a:avLst/>
              <a:gdLst>
                <a:gd name="T0" fmla="*/ 0 w 5617"/>
                <a:gd name="T1" fmla="*/ 2717 h 5817"/>
                <a:gd name="T2" fmla="*/ 63 w 5617"/>
                <a:gd name="T3" fmla="*/ 5399 h 5817"/>
                <a:gd name="T4" fmla="*/ 146 w 5617"/>
                <a:gd name="T5" fmla="*/ 5436 h 5817"/>
                <a:gd name="T6" fmla="*/ 252 w 5617"/>
                <a:gd name="T7" fmla="*/ 5384 h 5817"/>
                <a:gd name="T8" fmla="*/ 640 w 5617"/>
                <a:gd name="T9" fmla="*/ 5532 h 5817"/>
                <a:gd name="T10" fmla="*/ 928 w 5617"/>
                <a:gd name="T11" fmla="*/ 5788 h 5817"/>
                <a:gd name="T12" fmla="*/ 1016 w 5617"/>
                <a:gd name="T13" fmla="*/ 5788 h 5817"/>
                <a:gd name="T14" fmla="*/ 1312 w 5617"/>
                <a:gd name="T15" fmla="*/ 5534 h 5817"/>
                <a:gd name="T16" fmla="*/ 1954 w 5617"/>
                <a:gd name="T17" fmla="*/ 5628 h 5817"/>
                <a:gd name="T18" fmla="*/ 2183 w 5617"/>
                <a:gd name="T19" fmla="*/ 5816 h 5817"/>
                <a:gd name="T20" fmla="*/ 2262 w 5617"/>
                <a:gd name="T21" fmla="*/ 5799 h 5817"/>
                <a:gd name="T22" fmla="*/ 2527 w 5617"/>
                <a:gd name="T23" fmla="*/ 5542 h 5817"/>
                <a:gd name="T24" fmla="*/ 3180 w 5617"/>
                <a:gd name="T25" fmla="*/ 5620 h 5817"/>
                <a:gd name="T26" fmla="*/ 3391 w 5617"/>
                <a:gd name="T27" fmla="*/ 5794 h 5817"/>
                <a:gd name="T28" fmla="*/ 3480 w 5617"/>
                <a:gd name="T29" fmla="*/ 5779 h 5817"/>
                <a:gd name="T30" fmla="*/ 3762 w 5617"/>
                <a:gd name="T31" fmla="*/ 5532 h 5817"/>
                <a:gd name="T32" fmla="*/ 4032 w 5617"/>
                <a:gd name="T33" fmla="*/ 5284 h 5817"/>
                <a:gd name="T34" fmla="*/ 4312 w 5617"/>
                <a:gd name="T35" fmla="*/ 5540 h 5817"/>
                <a:gd name="T36" fmla="*/ 4602 w 5617"/>
                <a:gd name="T37" fmla="*/ 5801 h 5817"/>
                <a:gd name="T38" fmla="*/ 4653 w 5617"/>
                <a:gd name="T39" fmla="*/ 5810 h 5817"/>
                <a:gd name="T40" fmla="*/ 4791 w 5617"/>
                <a:gd name="T41" fmla="*/ 5726 h 5817"/>
                <a:gd name="T42" fmla="*/ 5250 w 5617"/>
                <a:gd name="T43" fmla="*/ 5267 h 5817"/>
                <a:gd name="T44" fmla="*/ 5413 w 5617"/>
                <a:gd name="T45" fmla="*/ 5419 h 5817"/>
                <a:gd name="T46" fmla="*/ 5499 w 5617"/>
                <a:gd name="T47" fmla="*/ 5432 h 5817"/>
                <a:gd name="T48" fmla="*/ 5568 w 5617"/>
                <a:gd name="T49" fmla="*/ 5385 h 5817"/>
                <a:gd name="T50" fmla="*/ 5617 w 5617"/>
                <a:gd name="T51" fmla="*/ 97 h 5817"/>
                <a:gd name="T52" fmla="*/ 2808 w 5617"/>
                <a:gd name="T53" fmla="*/ 0 h 5817"/>
                <a:gd name="T54" fmla="*/ 5317 w 5617"/>
                <a:gd name="T55" fmla="*/ 2605 h 5817"/>
                <a:gd name="T56" fmla="*/ 5256 w 5617"/>
                <a:gd name="T57" fmla="*/ 4903 h 5817"/>
                <a:gd name="T58" fmla="*/ 5142 w 5617"/>
                <a:gd name="T59" fmla="*/ 4972 h 5817"/>
                <a:gd name="T60" fmla="*/ 4650 w 5617"/>
                <a:gd name="T61" fmla="*/ 5457 h 5817"/>
                <a:gd name="T62" fmla="*/ 4325 w 5617"/>
                <a:gd name="T63" fmla="*/ 5147 h 5817"/>
                <a:gd name="T64" fmla="*/ 4077 w 5617"/>
                <a:gd name="T65" fmla="*/ 4931 h 5817"/>
                <a:gd name="T66" fmla="*/ 4000 w 5617"/>
                <a:gd name="T67" fmla="*/ 4928 h 5817"/>
                <a:gd name="T68" fmla="*/ 3883 w 5617"/>
                <a:gd name="T69" fmla="*/ 5009 h 5817"/>
                <a:gd name="T70" fmla="*/ 3423 w 5617"/>
                <a:gd name="T71" fmla="*/ 5449 h 5817"/>
                <a:gd name="T72" fmla="*/ 2884 w 5617"/>
                <a:gd name="T73" fmla="*/ 4958 h 5817"/>
                <a:gd name="T74" fmla="*/ 2809 w 5617"/>
                <a:gd name="T75" fmla="*/ 4917 h 5817"/>
                <a:gd name="T76" fmla="*/ 2710 w 5617"/>
                <a:gd name="T77" fmla="*/ 4951 h 5817"/>
                <a:gd name="T78" fmla="*/ 2465 w 5617"/>
                <a:gd name="T79" fmla="*/ 5187 h 5817"/>
                <a:gd name="T80" fmla="*/ 1830 w 5617"/>
                <a:gd name="T81" fmla="*/ 5090 h 5817"/>
                <a:gd name="T82" fmla="*/ 1636 w 5617"/>
                <a:gd name="T83" fmla="*/ 4927 h 5817"/>
                <a:gd name="T84" fmla="*/ 1545 w 5617"/>
                <a:gd name="T85" fmla="*/ 4928 h 5817"/>
                <a:gd name="T86" fmla="*/ 1339 w 5617"/>
                <a:gd name="T87" fmla="*/ 5103 h 5817"/>
                <a:gd name="T88" fmla="*/ 697 w 5617"/>
                <a:gd name="T89" fmla="*/ 5174 h 5817"/>
                <a:gd name="T90" fmla="*/ 433 w 5617"/>
                <a:gd name="T91" fmla="*/ 4924 h 5817"/>
                <a:gd name="T92" fmla="*/ 360 w 5617"/>
                <a:gd name="T93" fmla="*/ 4904 h 5817"/>
                <a:gd name="T94" fmla="*/ 300 w 5617"/>
                <a:gd name="T95" fmla="*/ 300 h 5817"/>
                <a:gd name="T96" fmla="*/ 5317 w 5617"/>
                <a:gd name="T97" fmla="*/ 2605 h 5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617" h="5817">
                  <a:moveTo>
                    <a:pt x="48" y="49"/>
                  </a:moveTo>
                  <a:lnTo>
                    <a:pt x="0" y="97"/>
                  </a:lnTo>
                  <a:lnTo>
                    <a:pt x="0" y="2717"/>
                  </a:lnTo>
                  <a:lnTo>
                    <a:pt x="0" y="5337"/>
                  </a:lnTo>
                  <a:lnTo>
                    <a:pt x="48" y="5385"/>
                  </a:lnTo>
                  <a:lnTo>
                    <a:pt x="63" y="5399"/>
                  </a:lnTo>
                  <a:lnTo>
                    <a:pt x="91" y="5420"/>
                  </a:lnTo>
                  <a:lnTo>
                    <a:pt x="119" y="5432"/>
                  </a:lnTo>
                  <a:lnTo>
                    <a:pt x="146" y="5436"/>
                  </a:lnTo>
                  <a:lnTo>
                    <a:pt x="174" y="5432"/>
                  </a:lnTo>
                  <a:lnTo>
                    <a:pt x="204" y="5419"/>
                  </a:lnTo>
                  <a:lnTo>
                    <a:pt x="252" y="5384"/>
                  </a:lnTo>
                  <a:lnTo>
                    <a:pt x="288" y="5349"/>
                  </a:lnTo>
                  <a:lnTo>
                    <a:pt x="370" y="5264"/>
                  </a:lnTo>
                  <a:lnTo>
                    <a:pt x="640" y="5532"/>
                  </a:lnTo>
                  <a:lnTo>
                    <a:pt x="761" y="5653"/>
                  </a:lnTo>
                  <a:lnTo>
                    <a:pt x="880" y="5761"/>
                  </a:lnTo>
                  <a:lnTo>
                    <a:pt x="928" y="5788"/>
                  </a:lnTo>
                  <a:lnTo>
                    <a:pt x="957" y="5796"/>
                  </a:lnTo>
                  <a:lnTo>
                    <a:pt x="986" y="5797"/>
                  </a:lnTo>
                  <a:lnTo>
                    <a:pt x="1016" y="5788"/>
                  </a:lnTo>
                  <a:lnTo>
                    <a:pt x="1064" y="5762"/>
                  </a:lnTo>
                  <a:lnTo>
                    <a:pt x="1187" y="5655"/>
                  </a:lnTo>
                  <a:lnTo>
                    <a:pt x="1312" y="5534"/>
                  </a:lnTo>
                  <a:lnTo>
                    <a:pt x="1592" y="5267"/>
                  </a:lnTo>
                  <a:lnTo>
                    <a:pt x="1867" y="5542"/>
                  </a:lnTo>
                  <a:lnTo>
                    <a:pt x="1954" y="5628"/>
                  </a:lnTo>
                  <a:lnTo>
                    <a:pt x="2071" y="5740"/>
                  </a:lnTo>
                  <a:lnTo>
                    <a:pt x="2140" y="5797"/>
                  </a:lnTo>
                  <a:lnTo>
                    <a:pt x="2183" y="5816"/>
                  </a:lnTo>
                  <a:lnTo>
                    <a:pt x="2202" y="5817"/>
                  </a:lnTo>
                  <a:lnTo>
                    <a:pt x="2220" y="5817"/>
                  </a:lnTo>
                  <a:lnTo>
                    <a:pt x="2262" y="5799"/>
                  </a:lnTo>
                  <a:lnTo>
                    <a:pt x="2328" y="5742"/>
                  </a:lnTo>
                  <a:lnTo>
                    <a:pt x="2442" y="5629"/>
                  </a:lnTo>
                  <a:lnTo>
                    <a:pt x="2527" y="5542"/>
                  </a:lnTo>
                  <a:lnTo>
                    <a:pt x="2795" y="5265"/>
                  </a:lnTo>
                  <a:lnTo>
                    <a:pt x="3068" y="5519"/>
                  </a:lnTo>
                  <a:lnTo>
                    <a:pt x="3180" y="5620"/>
                  </a:lnTo>
                  <a:lnTo>
                    <a:pt x="3348" y="5767"/>
                  </a:lnTo>
                  <a:lnTo>
                    <a:pt x="3378" y="5789"/>
                  </a:lnTo>
                  <a:lnTo>
                    <a:pt x="3391" y="5794"/>
                  </a:lnTo>
                  <a:lnTo>
                    <a:pt x="3417" y="5799"/>
                  </a:lnTo>
                  <a:lnTo>
                    <a:pt x="3446" y="5794"/>
                  </a:lnTo>
                  <a:lnTo>
                    <a:pt x="3480" y="5779"/>
                  </a:lnTo>
                  <a:lnTo>
                    <a:pt x="3543" y="5735"/>
                  </a:lnTo>
                  <a:lnTo>
                    <a:pt x="3671" y="5620"/>
                  </a:lnTo>
                  <a:lnTo>
                    <a:pt x="3762" y="5532"/>
                  </a:lnTo>
                  <a:lnTo>
                    <a:pt x="3864" y="5433"/>
                  </a:lnTo>
                  <a:lnTo>
                    <a:pt x="4011" y="5298"/>
                  </a:lnTo>
                  <a:lnTo>
                    <a:pt x="4032" y="5284"/>
                  </a:lnTo>
                  <a:lnTo>
                    <a:pt x="4052" y="5298"/>
                  </a:lnTo>
                  <a:lnTo>
                    <a:pt x="4204" y="5437"/>
                  </a:lnTo>
                  <a:lnTo>
                    <a:pt x="4312" y="5540"/>
                  </a:lnTo>
                  <a:lnTo>
                    <a:pt x="4420" y="5643"/>
                  </a:lnTo>
                  <a:lnTo>
                    <a:pt x="4549" y="5759"/>
                  </a:lnTo>
                  <a:lnTo>
                    <a:pt x="4602" y="5801"/>
                  </a:lnTo>
                  <a:lnTo>
                    <a:pt x="4613" y="5807"/>
                  </a:lnTo>
                  <a:lnTo>
                    <a:pt x="4626" y="5810"/>
                  </a:lnTo>
                  <a:lnTo>
                    <a:pt x="4653" y="5810"/>
                  </a:lnTo>
                  <a:lnTo>
                    <a:pt x="4684" y="5800"/>
                  </a:lnTo>
                  <a:lnTo>
                    <a:pt x="4722" y="5779"/>
                  </a:lnTo>
                  <a:lnTo>
                    <a:pt x="4791" y="5726"/>
                  </a:lnTo>
                  <a:lnTo>
                    <a:pt x="4921" y="5604"/>
                  </a:lnTo>
                  <a:lnTo>
                    <a:pt x="5008" y="5515"/>
                  </a:lnTo>
                  <a:lnTo>
                    <a:pt x="5250" y="5267"/>
                  </a:lnTo>
                  <a:lnTo>
                    <a:pt x="5330" y="5350"/>
                  </a:lnTo>
                  <a:lnTo>
                    <a:pt x="5366" y="5386"/>
                  </a:lnTo>
                  <a:lnTo>
                    <a:pt x="5413" y="5419"/>
                  </a:lnTo>
                  <a:lnTo>
                    <a:pt x="5443" y="5432"/>
                  </a:lnTo>
                  <a:lnTo>
                    <a:pt x="5471" y="5436"/>
                  </a:lnTo>
                  <a:lnTo>
                    <a:pt x="5499" y="5432"/>
                  </a:lnTo>
                  <a:lnTo>
                    <a:pt x="5526" y="5420"/>
                  </a:lnTo>
                  <a:lnTo>
                    <a:pt x="5554" y="5399"/>
                  </a:lnTo>
                  <a:lnTo>
                    <a:pt x="5568" y="5385"/>
                  </a:lnTo>
                  <a:lnTo>
                    <a:pt x="5617" y="5337"/>
                  </a:lnTo>
                  <a:lnTo>
                    <a:pt x="5617" y="2717"/>
                  </a:lnTo>
                  <a:lnTo>
                    <a:pt x="5617" y="97"/>
                  </a:lnTo>
                  <a:lnTo>
                    <a:pt x="5568" y="49"/>
                  </a:lnTo>
                  <a:lnTo>
                    <a:pt x="5520" y="0"/>
                  </a:lnTo>
                  <a:lnTo>
                    <a:pt x="2808" y="0"/>
                  </a:lnTo>
                  <a:lnTo>
                    <a:pt x="97" y="0"/>
                  </a:lnTo>
                  <a:lnTo>
                    <a:pt x="48" y="49"/>
                  </a:lnTo>
                  <a:close/>
                  <a:moveTo>
                    <a:pt x="5317" y="2605"/>
                  </a:moveTo>
                  <a:lnTo>
                    <a:pt x="5317" y="4912"/>
                  </a:lnTo>
                  <a:lnTo>
                    <a:pt x="5265" y="4904"/>
                  </a:lnTo>
                  <a:lnTo>
                    <a:pt x="5256" y="4903"/>
                  </a:lnTo>
                  <a:lnTo>
                    <a:pt x="5239" y="4904"/>
                  </a:lnTo>
                  <a:lnTo>
                    <a:pt x="5209" y="4917"/>
                  </a:lnTo>
                  <a:lnTo>
                    <a:pt x="5142" y="4972"/>
                  </a:lnTo>
                  <a:lnTo>
                    <a:pt x="5023" y="5087"/>
                  </a:lnTo>
                  <a:lnTo>
                    <a:pt x="4933" y="5177"/>
                  </a:lnTo>
                  <a:lnTo>
                    <a:pt x="4650" y="5457"/>
                  </a:lnTo>
                  <a:lnTo>
                    <a:pt x="4597" y="5409"/>
                  </a:lnTo>
                  <a:lnTo>
                    <a:pt x="4505" y="5322"/>
                  </a:lnTo>
                  <a:lnTo>
                    <a:pt x="4325" y="5147"/>
                  </a:lnTo>
                  <a:lnTo>
                    <a:pt x="4235" y="5062"/>
                  </a:lnTo>
                  <a:lnTo>
                    <a:pt x="4125" y="4967"/>
                  </a:lnTo>
                  <a:lnTo>
                    <a:pt x="4077" y="4931"/>
                  </a:lnTo>
                  <a:lnTo>
                    <a:pt x="4065" y="4925"/>
                  </a:lnTo>
                  <a:lnTo>
                    <a:pt x="4045" y="4922"/>
                  </a:lnTo>
                  <a:lnTo>
                    <a:pt x="4000" y="4928"/>
                  </a:lnTo>
                  <a:lnTo>
                    <a:pt x="3953" y="4950"/>
                  </a:lnTo>
                  <a:lnTo>
                    <a:pt x="3906" y="4985"/>
                  </a:lnTo>
                  <a:lnTo>
                    <a:pt x="3883" y="5009"/>
                  </a:lnTo>
                  <a:lnTo>
                    <a:pt x="3803" y="5088"/>
                  </a:lnTo>
                  <a:lnTo>
                    <a:pt x="3632" y="5250"/>
                  </a:lnTo>
                  <a:lnTo>
                    <a:pt x="3423" y="5449"/>
                  </a:lnTo>
                  <a:lnTo>
                    <a:pt x="3157" y="5202"/>
                  </a:lnTo>
                  <a:lnTo>
                    <a:pt x="3048" y="5103"/>
                  </a:lnTo>
                  <a:lnTo>
                    <a:pt x="2884" y="4958"/>
                  </a:lnTo>
                  <a:lnTo>
                    <a:pt x="2855" y="4937"/>
                  </a:lnTo>
                  <a:lnTo>
                    <a:pt x="2839" y="4928"/>
                  </a:lnTo>
                  <a:lnTo>
                    <a:pt x="2809" y="4917"/>
                  </a:lnTo>
                  <a:lnTo>
                    <a:pt x="2781" y="4916"/>
                  </a:lnTo>
                  <a:lnTo>
                    <a:pt x="2749" y="4926"/>
                  </a:lnTo>
                  <a:lnTo>
                    <a:pt x="2710" y="4951"/>
                  </a:lnTo>
                  <a:lnTo>
                    <a:pt x="2661" y="4993"/>
                  </a:lnTo>
                  <a:lnTo>
                    <a:pt x="2561" y="5089"/>
                  </a:lnTo>
                  <a:lnTo>
                    <a:pt x="2465" y="5187"/>
                  </a:lnTo>
                  <a:lnTo>
                    <a:pt x="2203" y="5459"/>
                  </a:lnTo>
                  <a:lnTo>
                    <a:pt x="1930" y="5189"/>
                  </a:lnTo>
                  <a:lnTo>
                    <a:pt x="1830" y="5090"/>
                  </a:lnTo>
                  <a:lnTo>
                    <a:pt x="1727" y="4993"/>
                  </a:lnTo>
                  <a:lnTo>
                    <a:pt x="1675" y="4952"/>
                  </a:lnTo>
                  <a:lnTo>
                    <a:pt x="1636" y="4927"/>
                  </a:lnTo>
                  <a:lnTo>
                    <a:pt x="1603" y="4916"/>
                  </a:lnTo>
                  <a:lnTo>
                    <a:pt x="1574" y="4917"/>
                  </a:lnTo>
                  <a:lnTo>
                    <a:pt x="1545" y="4928"/>
                  </a:lnTo>
                  <a:lnTo>
                    <a:pt x="1528" y="4937"/>
                  </a:lnTo>
                  <a:lnTo>
                    <a:pt x="1499" y="4958"/>
                  </a:lnTo>
                  <a:lnTo>
                    <a:pt x="1339" y="5103"/>
                  </a:lnTo>
                  <a:lnTo>
                    <a:pt x="1233" y="5202"/>
                  </a:lnTo>
                  <a:lnTo>
                    <a:pt x="975" y="5450"/>
                  </a:lnTo>
                  <a:lnTo>
                    <a:pt x="697" y="5174"/>
                  </a:lnTo>
                  <a:lnTo>
                    <a:pt x="604" y="5081"/>
                  </a:lnTo>
                  <a:lnTo>
                    <a:pt x="485" y="4966"/>
                  </a:lnTo>
                  <a:lnTo>
                    <a:pt x="433" y="4924"/>
                  </a:lnTo>
                  <a:lnTo>
                    <a:pt x="409" y="4909"/>
                  </a:lnTo>
                  <a:lnTo>
                    <a:pt x="380" y="4902"/>
                  </a:lnTo>
                  <a:lnTo>
                    <a:pt x="360" y="4904"/>
                  </a:lnTo>
                  <a:lnTo>
                    <a:pt x="300" y="4910"/>
                  </a:lnTo>
                  <a:lnTo>
                    <a:pt x="300" y="2605"/>
                  </a:lnTo>
                  <a:lnTo>
                    <a:pt x="300" y="300"/>
                  </a:lnTo>
                  <a:lnTo>
                    <a:pt x="2808" y="300"/>
                  </a:lnTo>
                  <a:lnTo>
                    <a:pt x="5317" y="300"/>
                  </a:lnTo>
                  <a:lnTo>
                    <a:pt x="5317" y="260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08" name="Freeform 53"/>
            <p:cNvSpPr>
              <a:spLocks/>
            </p:cNvSpPr>
            <p:nvPr/>
          </p:nvSpPr>
          <p:spPr bwMode="auto">
            <a:xfrm>
              <a:off x="3844" y="2150"/>
              <a:ext cx="114" cy="117"/>
            </a:xfrm>
            <a:custGeom>
              <a:avLst/>
              <a:gdLst>
                <a:gd name="T0" fmla="*/ 98 w 290"/>
                <a:gd name="T1" fmla="*/ 8 h 299"/>
                <a:gd name="T2" fmla="*/ 80 w 290"/>
                <a:gd name="T3" fmla="*/ 17 h 299"/>
                <a:gd name="T4" fmla="*/ 48 w 290"/>
                <a:gd name="T5" fmla="*/ 39 h 299"/>
                <a:gd name="T6" fmla="*/ 24 w 290"/>
                <a:gd name="T7" fmla="*/ 67 h 299"/>
                <a:gd name="T8" fmla="*/ 8 w 290"/>
                <a:gd name="T9" fmla="*/ 100 h 299"/>
                <a:gd name="T10" fmla="*/ 0 w 290"/>
                <a:gd name="T11" fmla="*/ 135 h 299"/>
                <a:gd name="T12" fmla="*/ 1 w 290"/>
                <a:gd name="T13" fmla="*/ 171 h 299"/>
                <a:gd name="T14" fmla="*/ 12 w 290"/>
                <a:gd name="T15" fmla="*/ 206 h 299"/>
                <a:gd name="T16" fmla="*/ 31 w 290"/>
                <a:gd name="T17" fmla="*/ 239 h 299"/>
                <a:gd name="T18" fmla="*/ 45 w 290"/>
                <a:gd name="T19" fmla="*/ 253 h 299"/>
                <a:gd name="T20" fmla="*/ 63 w 290"/>
                <a:gd name="T21" fmla="*/ 270 h 299"/>
                <a:gd name="T22" fmla="*/ 102 w 290"/>
                <a:gd name="T23" fmla="*/ 291 h 299"/>
                <a:gd name="T24" fmla="*/ 143 w 290"/>
                <a:gd name="T25" fmla="*/ 299 h 299"/>
                <a:gd name="T26" fmla="*/ 184 w 290"/>
                <a:gd name="T27" fmla="*/ 295 h 299"/>
                <a:gd name="T28" fmla="*/ 221 w 290"/>
                <a:gd name="T29" fmla="*/ 279 h 299"/>
                <a:gd name="T30" fmla="*/ 252 w 290"/>
                <a:gd name="T31" fmla="*/ 253 h 299"/>
                <a:gd name="T32" fmla="*/ 276 w 290"/>
                <a:gd name="T33" fmla="*/ 218 h 299"/>
                <a:gd name="T34" fmla="*/ 289 w 290"/>
                <a:gd name="T35" fmla="*/ 175 h 299"/>
                <a:gd name="T36" fmla="*/ 290 w 290"/>
                <a:gd name="T37" fmla="*/ 150 h 299"/>
                <a:gd name="T38" fmla="*/ 289 w 290"/>
                <a:gd name="T39" fmla="*/ 132 h 299"/>
                <a:gd name="T40" fmla="*/ 280 w 290"/>
                <a:gd name="T41" fmla="*/ 97 h 299"/>
                <a:gd name="T42" fmla="*/ 263 w 290"/>
                <a:gd name="T43" fmla="*/ 66 h 299"/>
                <a:gd name="T44" fmla="*/ 240 w 290"/>
                <a:gd name="T45" fmla="*/ 40 h 299"/>
                <a:gd name="T46" fmla="*/ 212 w 290"/>
                <a:gd name="T47" fmla="*/ 19 h 299"/>
                <a:gd name="T48" fmla="*/ 181 w 290"/>
                <a:gd name="T49" fmla="*/ 6 h 299"/>
                <a:gd name="T50" fmla="*/ 148 w 290"/>
                <a:gd name="T51" fmla="*/ 0 h 299"/>
                <a:gd name="T52" fmla="*/ 115 w 290"/>
                <a:gd name="T53" fmla="*/ 3 h 299"/>
                <a:gd name="T54" fmla="*/ 98 w 290"/>
                <a:gd name="T55" fmla="*/ 8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0" h="299">
                  <a:moveTo>
                    <a:pt x="98" y="8"/>
                  </a:moveTo>
                  <a:lnTo>
                    <a:pt x="80" y="17"/>
                  </a:lnTo>
                  <a:lnTo>
                    <a:pt x="48" y="39"/>
                  </a:lnTo>
                  <a:lnTo>
                    <a:pt x="24" y="67"/>
                  </a:lnTo>
                  <a:lnTo>
                    <a:pt x="8" y="100"/>
                  </a:lnTo>
                  <a:lnTo>
                    <a:pt x="0" y="135"/>
                  </a:lnTo>
                  <a:lnTo>
                    <a:pt x="1" y="171"/>
                  </a:lnTo>
                  <a:lnTo>
                    <a:pt x="12" y="206"/>
                  </a:lnTo>
                  <a:lnTo>
                    <a:pt x="31" y="239"/>
                  </a:lnTo>
                  <a:lnTo>
                    <a:pt x="45" y="253"/>
                  </a:lnTo>
                  <a:lnTo>
                    <a:pt x="63" y="270"/>
                  </a:lnTo>
                  <a:lnTo>
                    <a:pt x="102" y="291"/>
                  </a:lnTo>
                  <a:lnTo>
                    <a:pt x="143" y="299"/>
                  </a:lnTo>
                  <a:lnTo>
                    <a:pt x="184" y="295"/>
                  </a:lnTo>
                  <a:lnTo>
                    <a:pt x="221" y="279"/>
                  </a:lnTo>
                  <a:lnTo>
                    <a:pt x="252" y="253"/>
                  </a:lnTo>
                  <a:lnTo>
                    <a:pt x="276" y="218"/>
                  </a:lnTo>
                  <a:lnTo>
                    <a:pt x="289" y="175"/>
                  </a:lnTo>
                  <a:lnTo>
                    <a:pt x="290" y="150"/>
                  </a:lnTo>
                  <a:lnTo>
                    <a:pt x="289" y="132"/>
                  </a:lnTo>
                  <a:lnTo>
                    <a:pt x="280" y="97"/>
                  </a:lnTo>
                  <a:lnTo>
                    <a:pt x="263" y="66"/>
                  </a:lnTo>
                  <a:lnTo>
                    <a:pt x="240" y="40"/>
                  </a:lnTo>
                  <a:lnTo>
                    <a:pt x="212" y="19"/>
                  </a:lnTo>
                  <a:lnTo>
                    <a:pt x="181" y="6"/>
                  </a:lnTo>
                  <a:lnTo>
                    <a:pt x="148" y="0"/>
                  </a:lnTo>
                  <a:lnTo>
                    <a:pt x="115" y="3"/>
                  </a:lnTo>
                  <a:lnTo>
                    <a:pt x="98" y="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09" name="Freeform 54"/>
            <p:cNvSpPr>
              <a:spLocks/>
            </p:cNvSpPr>
            <p:nvPr/>
          </p:nvSpPr>
          <p:spPr bwMode="auto">
            <a:xfrm>
              <a:off x="4225" y="2147"/>
              <a:ext cx="118" cy="119"/>
            </a:xfrm>
            <a:custGeom>
              <a:avLst/>
              <a:gdLst>
                <a:gd name="T0" fmla="*/ 90 w 301"/>
                <a:gd name="T1" fmla="*/ 25 h 305"/>
                <a:gd name="T2" fmla="*/ 68 w 301"/>
                <a:gd name="T3" fmla="*/ 36 h 305"/>
                <a:gd name="T4" fmla="*/ 34 w 301"/>
                <a:gd name="T5" fmla="*/ 65 h 305"/>
                <a:gd name="T6" fmla="*/ 11 w 301"/>
                <a:gd name="T7" fmla="*/ 100 h 305"/>
                <a:gd name="T8" fmla="*/ 0 w 301"/>
                <a:gd name="T9" fmla="*/ 139 h 305"/>
                <a:gd name="T10" fmla="*/ 1 w 301"/>
                <a:gd name="T11" fmla="*/ 180 h 305"/>
                <a:gd name="T12" fmla="*/ 13 w 301"/>
                <a:gd name="T13" fmla="*/ 219 h 305"/>
                <a:gd name="T14" fmla="*/ 36 w 301"/>
                <a:gd name="T15" fmla="*/ 254 h 305"/>
                <a:gd name="T16" fmla="*/ 71 w 301"/>
                <a:gd name="T17" fmla="*/ 282 h 305"/>
                <a:gd name="T18" fmla="*/ 93 w 301"/>
                <a:gd name="T19" fmla="*/ 293 h 305"/>
                <a:gd name="T20" fmla="*/ 111 w 301"/>
                <a:gd name="T21" fmla="*/ 300 h 305"/>
                <a:gd name="T22" fmla="*/ 148 w 301"/>
                <a:gd name="T23" fmla="*/ 305 h 305"/>
                <a:gd name="T24" fmla="*/ 184 w 301"/>
                <a:gd name="T25" fmla="*/ 301 h 305"/>
                <a:gd name="T26" fmla="*/ 218 w 301"/>
                <a:gd name="T27" fmla="*/ 288 h 305"/>
                <a:gd name="T28" fmla="*/ 248 w 301"/>
                <a:gd name="T29" fmla="*/ 269 h 305"/>
                <a:gd name="T30" fmla="*/ 273 w 301"/>
                <a:gd name="T31" fmla="*/ 243 h 305"/>
                <a:gd name="T32" fmla="*/ 291 w 301"/>
                <a:gd name="T33" fmla="*/ 212 h 305"/>
                <a:gd name="T34" fmla="*/ 300 w 301"/>
                <a:gd name="T35" fmla="*/ 177 h 305"/>
                <a:gd name="T36" fmla="*/ 301 w 301"/>
                <a:gd name="T37" fmla="*/ 158 h 305"/>
                <a:gd name="T38" fmla="*/ 300 w 301"/>
                <a:gd name="T39" fmla="*/ 138 h 305"/>
                <a:gd name="T40" fmla="*/ 283 w 301"/>
                <a:gd name="T41" fmla="*/ 95 h 305"/>
                <a:gd name="T42" fmla="*/ 255 w 301"/>
                <a:gd name="T43" fmla="*/ 56 h 305"/>
                <a:gd name="T44" fmla="*/ 219 w 301"/>
                <a:gd name="T45" fmla="*/ 26 h 305"/>
                <a:gd name="T46" fmla="*/ 200 w 301"/>
                <a:gd name="T47" fmla="*/ 18 h 305"/>
                <a:gd name="T48" fmla="*/ 158 w 301"/>
                <a:gd name="T49" fmla="*/ 4 h 305"/>
                <a:gd name="T50" fmla="*/ 145 w 301"/>
                <a:gd name="T51" fmla="*/ 0 h 305"/>
                <a:gd name="T52" fmla="*/ 131 w 301"/>
                <a:gd name="T53" fmla="*/ 6 h 305"/>
                <a:gd name="T54" fmla="*/ 90 w 301"/>
                <a:gd name="T55" fmla="*/ 25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1" h="305">
                  <a:moveTo>
                    <a:pt x="90" y="25"/>
                  </a:moveTo>
                  <a:lnTo>
                    <a:pt x="68" y="36"/>
                  </a:lnTo>
                  <a:lnTo>
                    <a:pt x="34" y="65"/>
                  </a:lnTo>
                  <a:lnTo>
                    <a:pt x="11" y="100"/>
                  </a:lnTo>
                  <a:lnTo>
                    <a:pt x="0" y="139"/>
                  </a:lnTo>
                  <a:lnTo>
                    <a:pt x="1" y="180"/>
                  </a:lnTo>
                  <a:lnTo>
                    <a:pt x="13" y="219"/>
                  </a:lnTo>
                  <a:lnTo>
                    <a:pt x="36" y="254"/>
                  </a:lnTo>
                  <a:lnTo>
                    <a:pt x="71" y="282"/>
                  </a:lnTo>
                  <a:lnTo>
                    <a:pt x="93" y="293"/>
                  </a:lnTo>
                  <a:lnTo>
                    <a:pt x="111" y="300"/>
                  </a:lnTo>
                  <a:lnTo>
                    <a:pt x="148" y="305"/>
                  </a:lnTo>
                  <a:lnTo>
                    <a:pt x="184" y="301"/>
                  </a:lnTo>
                  <a:lnTo>
                    <a:pt x="218" y="288"/>
                  </a:lnTo>
                  <a:lnTo>
                    <a:pt x="248" y="269"/>
                  </a:lnTo>
                  <a:lnTo>
                    <a:pt x="273" y="243"/>
                  </a:lnTo>
                  <a:lnTo>
                    <a:pt x="291" y="212"/>
                  </a:lnTo>
                  <a:lnTo>
                    <a:pt x="300" y="177"/>
                  </a:lnTo>
                  <a:lnTo>
                    <a:pt x="301" y="158"/>
                  </a:lnTo>
                  <a:lnTo>
                    <a:pt x="300" y="138"/>
                  </a:lnTo>
                  <a:lnTo>
                    <a:pt x="283" y="95"/>
                  </a:lnTo>
                  <a:lnTo>
                    <a:pt x="255" y="56"/>
                  </a:lnTo>
                  <a:lnTo>
                    <a:pt x="219" y="26"/>
                  </a:lnTo>
                  <a:lnTo>
                    <a:pt x="200" y="18"/>
                  </a:lnTo>
                  <a:lnTo>
                    <a:pt x="158" y="4"/>
                  </a:lnTo>
                  <a:lnTo>
                    <a:pt x="145" y="0"/>
                  </a:lnTo>
                  <a:lnTo>
                    <a:pt x="131" y="6"/>
                  </a:lnTo>
                  <a:lnTo>
                    <a:pt x="90" y="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10" name="Freeform 55"/>
            <p:cNvSpPr>
              <a:spLocks/>
            </p:cNvSpPr>
            <p:nvPr/>
          </p:nvSpPr>
          <p:spPr bwMode="auto">
            <a:xfrm>
              <a:off x="4609" y="2149"/>
              <a:ext cx="116" cy="118"/>
            </a:xfrm>
            <a:custGeom>
              <a:avLst/>
              <a:gdLst>
                <a:gd name="T0" fmla="*/ 98 w 297"/>
                <a:gd name="T1" fmla="*/ 10 h 301"/>
                <a:gd name="T2" fmla="*/ 80 w 297"/>
                <a:gd name="T3" fmla="*/ 18 h 301"/>
                <a:gd name="T4" fmla="*/ 48 w 297"/>
                <a:gd name="T5" fmla="*/ 42 h 301"/>
                <a:gd name="T6" fmla="*/ 24 w 297"/>
                <a:gd name="T7" fmla="*/ 70 h 301"/>
                <a:gd name="T8" fmla="*/ 8 w 297"/>
                <a:gd name="T9" fmla="*/ 103 h 301"/>
                <a:gd name="T10" fmla="*/ 0 w 297"/>
                <a:gd name="T11" fmla="*/ 138 h 301"/>
                <a:gd name="T12" fmla="*/ 1 w 297"/>
                <a:gd name="T13" fmla="*/ 174 h 301"/>
                <a:gd name="T14" fmla="*/ 12 w 297"/>
                <a:gd name="T15" fmla="*/ 209 h 301"/>
                <a:gd name="T16" fmla="*/ 31 w 297"/>
                <a:gd name="T17" fmla="*/ 242 h 301"/>
                <a:gd name="T18" fmla="*/ 45 w 297"/>
                <a:gd name="T19" fmla="*/ 256 h 301"/>
                <a:gd name="T20" fmla="*/ 63 w 297"/>
                <a:gd name="T21" fmla="*/ 273 h 301"/>
                <a:gd name="T22" fmla="*/ 103 w 297"/>
                <a:gd name="T23" fmla="*/ 294 h 301"/>
                <a:gd name="T24" fmla="*/ 145 w 297"/>
                <a:gd name="T25" fmla="*/ 301 h 301"/>
                <a:gd name="T26" fmla="*/ 186 w 297"/>
                <a:gd name="T27" fmla="*/ 297 h 301"/>
                <a:gd name="T28" fmla="*/ 225 w 297"/>
                <a:gd name="T29" fmla="*/ 281 h 301"/>
                <a:gd name="T30" fmla="*/ 257 w 297"/>
                <a:gd name="T31" fmla="*/ 255 h 301"/>
                <a:gd name="T32" fmla="*/ 282 w 297"/>
                <a:gd name="T33" fmla="*/ 220 h 301"/>
                <a:gd name="T34" fmla="*/ 295 w 297"/>
                <a:gd name="T35" fmla="*/ 177 h 301"/>
                <a:gd name="T36" fmla="*/ 297 w 297"/>
                <a:gd name="T37" fmla="*/ 153 h 301"/>
                <a:gd name="T38" fmla="*/ 296 w 297"/>
                <a:gd name="T39" fmla="*/ 135 h 301"/>
                <a:gd name="T40" fmla="*/ 286 w 297"/>
                <a:gd name="T41" fmla="*/ 100 h 301"/>
                <a:gd name="T42" fmla="*/ 268 w 297"/>
                <a:gd name="T43" fmla="*/ 69 h 301"/>
                <a:gd name="T44" fmla="*/ 244 w 297"/>
                <a:gd name="T45" fmla="*/ 42 h 301"/>
                <a:gd name="T46" fmla="*/ 215 w 297"/>
                <a:gd name="T47" fmla="*/ 21 h 301"/>
                <a:gd name="T48" fmla="*/ 183 w 297"/>
                <a:gd name="T49" fmla="*/ 7 h 301"/>
                <a:gd name="T50" fmla="*/ 149 w 297"/>
                <a:gd name="T51" fmla="*/ 0 h 301"/>
                <a:gd name="T52" fmla="*/ 115 w 297"/>
                <a:gd name="T53" fmla="*/ 4 h 301"/>
                <a:gd name="T54" fmla="*/ 98 w 297"/>
                <a:gd name="T55" fmla="*/ 1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7" h="301">
                  <a:moveTo>
                    <a:pt x="98" y="10"/>
                  </a:moveTo>
                  <a:lnTo>
                    <a:pt x="80" y="18"/>
                  </a:lnTo>
                  <a:lnTo>
                    <a:pt x="48" y="42"/>
                  </a:lnTo>
                  <a:lnTo>
                    <a:pt x="24" y="70"/>
                  </a:lnTo>
                  <a:lnTo>
                    <a:pt x="8" y="103"/>
                  </a:lnTo>
                  <a:lnTo>
                    <a:pt x="0" y="138"/>
                  </a:lnTo>
                  <a:lnTo>
                    <a:pt x="1" y="174"/>
                  </a:lnTo>
                  <a:lnTo>
                    <a:pt x="12" y="209"/>
                  </a:lnTo>
                  <a:lnTo>
                    <a:pt x="31" y="242"/>
                  </a:lnTo>
                  <a:lnTo>
                    <a:pt x="45" y="256"/>
                  </a:lnTo>
                  <a:lnTo>
                    <a:pt x="63" y="273"/>
                  </a:lnTo>
                  <a:lnTo>
                    <a:pt x="103" y="294"/>
                  </a:lnTo>
                  <a:lnTo>
                    <a:pt x="145" y="301"/>
                  </a:lnTo>
                  <a:lnTo>
                    <a:pt x="186" y="297"/>
                  </a:lnTo>
                  <a:lnTo>
                    <a:pt x="225" y="281"/>
                  </a:lnTo>
                  <a:lnTo>
                    <a:pt x="257" y="255"/>
                  </a:lnTo>
                  <a:lnTo>
                    <a:pt x="282" y="220"/>
                  </a:lnTo>
                  <a:lnTo>
                    <a:pt x="295" y="177"/>
                  </a:lnTo>
                  <a:lnTo>
                    <a:pt x="297" y="153"/>
                  </a:lnTo>
                  <a:lnTo>
                    <a:pt x="296" y="135"/>
                  </a:lnTo>
                  <a:lnTo>
                    <a:pt x="286" y="100"/>
                  </a:lnTo>
                  <a:lnTo>
                    <a:pt x="268" y="69"/>
                  </a:lnTo>
                  <a:lnTo>
                    <a:pt x="244" y="42"/>
                  </a:lnTo>
                  <a:lnTo>
                    <a:pt x="215" y="21"/>
                  </a:lnTo>
                  <a:lnTo>
                    <a:pt x="183" y="7"/>
                  </a:lnTo>
                  <a:lnTo>
                    <a:pt x="149" y="0"/>
                  </a:lnTo>
                  <a:lnTo>
                    <a:pt x="115" y="4"/>
                  </a:lnTo>
                  <a:lnTo>
                    <a:pt x="98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11" name="Freeform 56"/>
            <p:cNvSpPr>
              <a:spLocks/>
            </p:cNvSpPr>
            <p:nvPr/>
          </p:nvSpPr>
          <p:spPr bwMode="auto">
            <a:xfrm>
              <a:off x="4991" y="2148"/>
              <a:ext cx="117" cy="118"/>
            </a:xfrm>
            <a:custGeom>
              <a:avLst/>
              <a:gdLst>
                <a:gd name="T0" fmla="*/ 92 w 300"/>
                <a:gd name="T1" fmla="*/ 19 h 301"/>
                <a:gd name="T2" fmla="*/ 74 w 300"/>
                <a:gd name="T3" fmla="*/ 28 h 301"/>
                <a:gd name="T4" fmla="*/ 41 w 300"/>
                <a:gd name="T5" fmla="*/ 58 h 301"/>
                <a:gd name="T6" fmla="*/ 16 w 300"/>
                <a:gd name="T7" fmla="*/ 95 h 301"/>
                <a:gd name="T8" fmla="*/ 2 w 300"/>
                <a:gd name="T9" fmla="*/ 136 h 301"/>
                <a:gd name="T10" fmla="*/ 0 w 300"/>
                <a:gd name="T11" fmla="*/ 156 h 301"/>
                <a:gd name="T12" fmla="*/ 2 w 300"/>
                <a:gd name="T13" fmla="*/ 168 h 301"/>
                <a:gd name="T14" fmla="*/ 16 w 300"/>
                <a:gd name="T15" fmla="*/ 208 h 301"/>
                <a:gd name="T16" fmla="*/ 25 w 300"/>
                <a:gd name="T17" fmla="*/ 227 h 301"/>
                <a:gd name="T18" fmla="*/ 32 w 300"/>
                <a:gd name="T19" fmla="*/ 239 h 301"/>
                <a:gd name="T20" fmla="*/ 47 w 300"/>
                <a:gd name="T21" fmla="*/ 260 h 301"/>
                <a:gd name="T22" fmla="*/ 75 w 300"/>
                <a:gd name="T23" fmla="*/ 283 h 301"/>
                <a:gd name="T24" fmla="*/ 119 w 300"/>
                <a:gd name="T25" fmla="*/ 299 h 301"/>
                <a:gd name="T26" fmla="*/ 165 w 300"/>
                <a:gd name="T27" fmla="*/ 301 h 301"/>
                <a:gd name="T28" fmla="*/ 210 w 300"/>
                <a:gd name="T29" fmla="*/ 289 h 301"/>
                <a:gd name="T30" fmla="*/ 250 w 300"/>
                <a:gd name="T31" fmla="*/ 264 h 301"/>
                <a:gd name="T32" fmla="*/ 281 w 300"/>
                <a:gd name="T33" fmla="*/ 228 h 301"/>
                <a:gd name="T34" fmla="*/ 295 w 300"/>
                <a:gd name="T35" fmla="*/ 194 h 301"/>
                <a:gd name="T36" fmla="*/ 300 w 300"/>
                <a:gd name="T37" fmla="*/ 168 h 301"/>
                <a:gd name="T38" fmla="*/ 300 w 300"/>
                <a:gd name="T39" fmla="*/ 154 h 301"/>
                <a:gd name="T40" fmla="*/ 299 w 300"/>
                <a:gd name="T41" fmla="*/ 130 h 301"/>
                <a:gd name="T42" fmla="*/ 288 w 300"/>
                <a:gd name="T43" fmla="*/ 89 h 301"/>
                <a:gd name="T44" fmla="*/ 265 w 300"/>
                <a:gd name="T45" fmla="*/ 56 h 301"/>
                <a:gd name="T46" fmla="*/ 231 w 300"/>
                <a:gd name="T47" fmla="*/ 30 h 301"/>
                <a:gd name="T48" fmla="*/ 209 w 300"/>
                <a:gd name="T49" fmla="*/ 19 h 301"/>
                <a:gd name="T50" fmla="*/ 186 w 300"/>
                <a:gd name="T51" fmla="*/ 10 h 301"/>
                <a:gd name="T52" fmla="*/ 158 w 300"/>
                <a:gd name="T53" fmla="*/ 0 h 301"/>
                <a:gd name="T54" fmla="*/ 139 w 300"/>
                <a:gd name="T55" fmla="*/ 0 h 301"/>
                <a:gd name="T56" fmla="*/ 113 w 300"/>
                <a:gd name="T57" fmla="*/ 10 h 301"/>
                <a:gd name="T58" fmla="*/ 92 w 300"/>
                <a:gd name="T59" fmla="*/ 19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00" h="301">
                  <a:moveTo>
                    <a:pt x="92" y="19"/>
                  </a:moveTo>
                  <a:lnTo>
                    <a:pt x="74" y="28"/>
                  </a:lnTo>
                  <a:lnTo>
                    <a:pt x="41" y="58"/>
                  </a:lnTo>
                  <a:lnTo>
                    <a:pt x="16" y="95"/>
                  </a:lnTo>
                  <a:lnTo>
                    <a:pt x="2" y="136"/>
                  </a:lnTo>
                  <a:lnTo>
                    <a:pt x="0" y="156"/>
                  </a:lnTo>
                  <a:lnTo>
                    <a:pt x="2" y="168"/>
                  </a:lnTo>
                  <a:lnTo>
                    <a:pt x="16" y="208"/>
                  </a:lnTo>
                  <a:lnTo>
                    <a:pt x="25" y="227"/>
                  </a:lnTo>
                  <a:lnTo>
                    <a:pt x="32" y="239"/>
                  </a:lnTo>
                  <a:lnTo>
                    <a:pt x="47" y="260"/>
                  </a:lnTo>
                  <a:lnTo>
                    <a:pt x="75" y="283"/>
                  </a:lnTo>
                  <a:lnTo>
                    <a:pt x="119" y="299"/>
                  </a:lnTo>
                  <a:lnTo>
                    <a:pt x="165" y="301"/>
                  </a:lnTo>
                  <a:lnTo>
                    <a:pt x="210" y="289"/>
                  </a:lnTo>
                  <a:lnTo>
                    <a:pt x="250" y="264"/>
                  </a:lnTo>
                  <a:lnTo>
                    <a:pt x="281" y="228"/>
                  </a:lnTo>
                  <a:lnTo>
                    <a:pt x="295" y="194"/>
                  </a:lnTo>
                  <a:lnTo>
                    <a:pt x="300" y="168"/>
                  </a:lnTo>
                  <a:lnTo>
                    <a:pt x="300" y="154"/>
                  </a:lnTo>
                  <a:lnTo>
                    <a:pt x="299" y="130"/>
                  </a:lnTo>
                  <a:lnTo>
                    <a:pt x="288" y="89"/>
                  </a:lnTo>
                  <a:lnTo>
                    <a:pt x="265" y="56"/>
                  </a:lnTo>
                  <a:lnTo>
                    <a:pt x="231" y="30"/>
                  </a:lnTo>
                  <a:lnTo>
                    <a:pt x="209" y="19"/>
                  </a:lnTo>
                  <a:lnTo>
                    <a:pt x="186" y="10"/>
                  </a:lnTo>
                  <a:lnTo>
                    <a:pt x="158" y="0"/>
                  </a:lnTo>
                  <a:lnTo>
                    <a:pt x="139" y="0"/>
                  </a:lnTo>
                  <a:lnTo>
                    <a:pt x="113" y="10"/>
                  </a:lnTo>
                  <a:lnTo>
                    <a:pt x="92" y="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12" name="Freeform 57"/>
            <p:cNvSpPr>
              <a:spLocks/>
            </p:cNvSpPr>
            <p:nvPr/>
          </p:nvSpPr>
          <p:spPr bwMode="auto">
            <a:xfrm>
              <a:off x="5377" y="2150"/>
              <a:ext cx="113" cy="117"/>
            </a:xfrm>
            <a:custGeom>
              <a:avLst/>
              <a:gdLst>
                <a:gd name="T0" fmla="*/ 105 w 290"/>
                <a:gd name="T1" fmla="*/ 3 h 299"/>
                <a:gd name="T2" fmla="*/ 95 w 290"/>
                <a:gd name="T3" fmla="*/ 6 h 299"/>
                <a:gd name="T4" fmla="*/ 75 w 290"/>
                <a:gd name="T5" fmla="*/ 15 h 299"/>
                <a:gd name="T6" fmla="*/ 48 w 290"/>
                <a:gd name="T7" fmla="*/ 37 h 299"/>
                <a:gd name="T8" fmla="*/ 18 w 290"/>
                <a:gd name="T9" fmla="*/ 79 h 299"/>
                <a:gd name="T10" fmla="*/ 1 w 290"/>
                <a:gd name="T11" fmla="*/ 127 h 299"/>
                <a:gd name="T12" fmla="*/ 0 w 290"/>
                <a:gd name="T13" fmla="*/ 152 h 299"/>
                <a:gd name="T14" fmla="*/ 1 w 290"/>
                <a:gd name="T15" fmla="*/ 176 h 299"/>
                <a:gd name="T16" fmla="*/ 14 w 290"/>
                <a:gd name="T17" fmla="*/ 219 h 299"/>
                <a:gd name="T18" fmla="*/ 37 w 290"/>
                <a:gd name="T19" fmla="*/ 254 h 299"/>
                <a:gd name="T20" fmla="*/ 69 w 290"/>
                <a:gd name="T21" fmla="*/ 279 h 299"/>
                <a:gd name="T22" fmla="*/ 106 w 290"/>
                <a:gd name="T23" fmla="*/ 295 h 299"/>
                <a:gd name="T24" fmla="*/ 146 w 290"/>
                <a:gd name="T25" fmla="*/ 299 h 299"/>
                <a:gd name="T26" fmla="*/ 187 w 290"/>
                <a:gd name="T27" fmla="*/ 291 h 299"/>
                <a:gd name="T28" fmla="*/ 227 w 290"/>
                <a:gd name="T29" fmla="*/ 270 h 299"/>
                <a:gd name="T30" fmla="*/ 245 w 290"/>
                <a:gd name="T31" fmla="*/ 253 h 299"/>
                <a:gd name="T32" fmla="*/ 263 w 290"/>
                <a:gd name="T33" fmla="*/ 233 h 299"/>
                <a:gd name="T34" fmla="*/ 285 w 290"/>
                <a:gd name="T35" fmla="*/ 189 h 299"/>
                <a:gd name="T36" fmla="*/ 290 w 290"/>
                <a:gd name="T37" fmla="*/ 143 h 299"/>
                <a:gd name="T38" fmla="*/ 280 w 290"/>
                <a:gd name="T39" fmla="*/ 99 h 299"/>
                <a:gd name="T40" fmla="*/ 258 w 290"/>
                <a:gd name="T41" fmla="*/ 59 h 299"/>
                <a:gd name="T42" fmla="*/ 225 w 290"/>
                <a:gd name="T43" fmla="*/ 27 h 299"/>
                <a:gd name="T44" fmla="*/ 182 w 290"/>
                <a:gd name="T45" fmla="*/ 6 h 299"/>
                <a:gd name="T46" fmla="*/ 132 w 290"/>
                <a:gd name="T47" fmla="*/ 0 h 299"/>
                <a:gd name="T48" fmla="*/ 105 w 290"/>
                <a:gd name="T49" fmla="*/ 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90" h="299">
                  <a:moveTo>
                    <a:pt x="105" y="3"/>
                  </a:moveTo>
                  <a:lnTo>
                    <a:pt x="95" y="6"/>
                  </a:lnTo>
                  <a:lnTo>
                    <a:pt x="75" y="15"/>
                  </a:lnTo>
                  <a:lnTo>
                    <a:pt x="48" y="37"/>
                  </a:lnTo>
                  <a:lnTo>
                    <a:pt x="18" y="79"/>
                  </a:lnTo>
                  <a:lnTo>
                    <a:pt x="1" y="127"/>
                  </a:lnTo>
                  <a:lnTo>
                    <a:pt x="0" y="152"/>
                  </a:lnTo>
                  <a:lnTo>
                    <a:pt x="1" y="176"/>
                  </a:lnTo>
                  <a:lnTo>
                    <a:pt x="14" y="219"/>
                  </a:lnTo>
                  <a:lnTo>
                    <a:pt x="37" y="254"/>
                  </a:lnTo>
                  <a:lnTo>
                    <a:pt x="69" y="279"/>
                  </a:lnTo>
                  <a:lnTo>
                    <a:pt x="106" y="295"/>
                  </a:lnTo>
                  <a:lnTo>
                    <a:pt x="146" y="299"/>
                  </a:lnTo>
                  <a:lnTo>
                    <a:pt x="187" y="291"/>
                  </a:lnTo>
                  <a:lnTo>
                    <a:pt x="227" y="270"/>
                  </a:lnTo>
                  <a:lnTo>
                    <a:pt x="245" y="253"/>
                  </a:lnTo>
                  <a:lnTo>
                    <a:pt x="263" y="233"/>
                  </a:lnTo>
                  <a:lnTo>
                    <a:pt x="285" y="189"/>
                  </a:lnTo>
                  <a:lnTo>
                    <a:pt x="290" y="143"/>
                  </a:lnTo>
                  <a:lnTo>
                    <a:pt x="280" y="99"/>
                  </a:lnTo>
                  <a:lnTo>
                    <a:pt x="258" y="59"/>
                  </a:lnTo>
                  <a:lnTo>
                    <a:pt x="225" y="27"/>
                  </a:lnTo>
                  <a:lnTo>
                    <a:pt x="182" y="6"/>
                  </a:lnTo>
                  <a:lnTo>
                    <a:pt x="132" y="0"/>
                  </a:lnTo>
                  <a:lnTo>
                    <a:pt x="105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13" name="Freeform 58"/>
            <p:cNvSpPr>
              <a:spLocks noEditPoints="1"/>
            </p:cNvSpPr>
            <p:nvPr/>
          </p:nvSpPr>
          <p:spPr bwMode="auto">
            <a:xfrm>
              <a:off x="3891" y="2539"/>
              <a:ext cx="497" cy="929"/>
            </a:xfrm>
            <a:custGeom>
              <a:avLst/>
              <a:gdLst>
                <a:gd name="T0" fmla="*/ 551 w 1267"/>
                <a:gd name="T1" fmla="*/ 112 h 2368"/>
                <a:gd name="T2" fmla="*/ 397 w 1267"/>
                <a:gd name="T3" fmla="*/ 146 h 2368"/>
                <a:gd name="T4" fmla="*/ 176 w 1267"/>
                <a:gd name="T5" fmla="*/ 286 h 2368"/>
                <a:gd name="T6" fmla="*/ 77 w 1267"/>
                <a:gd name="T7" fmla="*/ 451 h 2368"/>
                <a:gd name="T8" fmla="*/ 61 w 1267"/>
                <a:gd name="T9" fmla="*/ 767 h 2368"/>
                <a:gd name="T10" fmla="*/ 182 w 1267"/>
                <a:gd name="T11" fmla="*/ 995 h 2368"/>
                <a:gd name="T12" fmla="*/ 457 w 1267"/>
                <a:gd name="T13" fmla="*/ 1152 h 2368"/>
                <a:gd name="T14" fmla="*/ 570 w 1267"/>
                <a:gd name="T15" fmla="*/ 1696 h 2368"/>
                <a:gd name="T16" fmla="*/ 542 w 1267"/>
                <a:gd name="T17" fmla="*/ 1916 h 2368"/>
                <a:gd name="T18" fmla="*/ 395 w 1267"/>
                <a:gd name="T19" fmla="*/ 1839 h 2368"/>
                <a:gd name="T20" fmla="*/ 262 w 1267"/>
                <a:gd name="T21" fmla="*/ 1593 h 2368"/>
                <a:gd name="T22" fmla="*/ 218 w 1267"/>
                <a:gd name="T23" fmla="*/ 1511 h 2368"/>
                <a:gd name="T24" fmla="*/ 12 w 1267"/>
                <a:gd name="T25" fmla="*/ 1613 h 2368"/>
                <a:gd name="T26" fmla="*/ 86 w 1267"/>
                <a:gd name="T27" fmla="*/ 1835 h 2368"/>
                <a:gd name="T28" fmla="*/ 236 w 1267"/>
                <a:gd name="T29" fmla="*/ 2017 h 2368"/>
                <a:gd name="T30" fmla="*/ 440 w 1267"/>
                <a:gd name="T31" fmla="*/ 2098 h 2368"/>
                <a:gd name="T32" fmla="*/ 642 w 1267"/>
                <a:gd name="T33" fmla="*/ 2363 h 2368"/>
                <a:gd name="T34" fmla="*/ 770 w 1267"/>
                <a:gd name="T35" fmla="*/ 2116 h 2368"/>
                <a:gd name="T36" fmla="*/ 1044 w 1267"/>
                <a:gd name="T37" fmla="*/ 2008 h 2368"/>
                <a:gd name="T38" fmla="*/ 1198 w 1267"/>
                <a:gd name="T39" fmla="*/ 1824 h 2368"/>
                <a:gd name="T40" fmla="*/ 1267 w 1267"/>
                <a:gd name="T41" fmla="*/ 1510 h 2368"/>
                <a:gd name="T42" fmla="*/ 1209 w 1267"/>
                <a:gd name="T43" fmla="*/ 1293 h 2368"/>
                <a:gd name="T44" fmla="*/ 1036 w 1267"/>
                <a:gd name="T45" fmla="*/ 1103 h 2368"/>
                <a:gd name="T46" fmla="*/ 720 w 1267"/>
                <a:gd name="T47" fmla="*/ 978 h 2368"/>
                <a:gd name="T48" fmla="*/ 733 w 1267"/>
                <a:gd name="T49" fmla="*/ 320 h 2368"/>
                <a:gd name="T50" fmla="*/ 816 w 1267"/>
                <a:gd name="T51" fmla="*/ 347 h 2368"/>
                <a:gd name="T52" fmla="*/ 934 w 1267"/>
                <a:gd name="T53" fmla="*/ 483 h 2368"/>
                <a:gd name="T54" fmla="*/ 1062 w 1267"/>
                <a:gd name="T55" fmla="*/ 608 h 2368"/>
                <a:gd name="T56" fmla="*/ 1213 w 1267"/>
                <a:gd name="T57" fmla="*/ 567 h 2368"/>
                <a:gd name="T58" fmla="*/ 1183 w 1267"/>
                <a:gd name="T59" fmla="*/ 434 h 2368"/>
                <a:gd name="T60" fmla="*/ 1031 w 1267"/>
                <a:gd name="T61" fmla="*/ 230 h 2368"/>
                <a:gd name="T62" fmla="*/ 857 w 1267"/>
                <a:gd name="T63" fmla="*/ 138 h 2368"/>
                <a:gd name="T64" fmla="*/ 732 w 1267"/>
                <a:gd name="T65" fmla="*/ 112 h 2368"/>
                <a:gd name="T66" fmla="*/ 720 w 1267"/>
                <a:gd name="T67" fmla="*/ 38 h 2368"/>
                <a:gd name="T68" fmla="*/ 645 w 1267"/>
                <a:gd name="T69" fmla="*/ 0 h 2368"/>
                <a:gd name="T70" fmla="*/ 570 w 1267"/>
                <a:gd name="T71" fmla="*/ 37 h 2368"/>
                <a:gd name="T72" fmla="*/ 508 w 1267"/>
                <a:gd name="T73" fmla="*/ 925 h 2368"/>
                <a:gd name="T74" fmla="*/ 362 w 1267"/>
                <a:gd name="T75" fmla="*/ 833 h 2368"/>
                <a:gd name="T76" fmla="*/ 292 w 1267"/>
                <a:gd name="T77" fmla="*/ 678 h 2368"/>
                <a:gd name="T78" fmla="*/ 300 w 1267"/>
                <a:gd name="T79" fmla="*/ 531 h 2368"/>
                <a:gd name="T80" fmla="*/ 398 w 1267"/>
                <a:gd name="T81" fmla="*/ 383 h 2368"/>
                <a:gd name="T82" fmla="*/ 536 w 1267"/>
                <a:gd name="T83" fmla="*/ 313 h 2368"/>
                <a:gd name="T84" fmla="*/ 570 w 1267"/>
                <a:gd name="T85" fmla="*/ 512 h 2368"/>
                <a:gd name="T86" fmla="*/ 922 w 1267"/>
                <a:gd name="T87" fmla="*/ 1318 h 2368"/>
                <a:gd name="T88" fmla="*/ 1001 w 1267"/>
                <a:gd name="T89" fmla="*/ 1436 h 2368"/>
                <a:gd name="T90" fmla="*/ 1008 w 1267"/>
                <a:gd name="T91" fmla="*/ 1665 h 2368"/>
                <a:gd name="T92" fmla="*/ 941 w 1267"/>
                <a:gd name="T93" fmla="*/ 1797 h 2368"/>
                <a:gd name="T94" fmla="*/ 760 w 1267"/>
                <a:gd name="T95" fmla="*/ 1916 h 2368"/>
                <a:gd name="T96" fmla="*/ 728 w 1267"/>
                <a:gd name="T97" fmla="*/ 1893 h 2368"/>
                <a:gd name="T98" fmla="*/ 758 w 1267"/>
                <a:gd name="T99" fmla="*/ 1241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67" h="2368">
                  <a:moveTo>
                    <a:pt x="570" y="56"/>
                  </a:moveTo>
                  <a:lnTo>
                    <a:pt x="570" y="75"/>
                  </a:lnTo>
                  <a:lnTo>
                    <a:pt x="566" y="99"/>
                  </a:lnTo>
                  <a:lnTo>
                    <a:pt x="551" y="112"/>
                  </a:lnTo>
                  <a:lnTo>
                    <a:pt x="518" y="119"/>
                  </a:lnTo>
                  <a:lnTo>
                    <a:pt x="492" y="123"/>
                  </a:lnTo>
                  <a:lnTo>
                    <a:pt x="460" y="128"/>
                  </a:lnTo>
                  <a:lnTo>
                    <a:pt x="397" y="146"/>
                  </a:lnTo>
                  <a:lnTo>
                    <a:pt x="336" y="171"/>
                  </a:lnTo>
                  <a:lnTo>
                    <a:pt x="278" y="204"/>
                  </a:lnTo>
                  <a:lnTo>
                    <a:pt x="224" y="242"/>
                  </a:lnTo>
                  <a:lnTo>
                    <a:pt x="176" y="286"/>
                  </a:lnTo>
                  <a:lnTo>
                    <a:pt x="136" y="334"/>
                  </a:lnTo>
                  <a:lnTo>
                    <a:pt x="104" y="386"/>
                  </a:lnTo>
                  <a:lnTo>
                    <a:pt x="92" y="413"/>
                  </a:lnTo>
                  <a:lnTo>
                    <a:pt x="77" y="451"/>
                  </a:lnTo>
                  <a:lnTo>
                    <a:pt x="57" y="530"/>
                  </a:lnTo>
                  <a:lnTo>
                    <a:pt x="48" y="610"/>
                  </a:lnTo>
                  <a:lnTo>
                    <a:pt x="49" y="689"/>
                  </a:lnTo>
                  <a:lnTo>
                    <a:pt x="61" y="767"/>
                  </a:lnTo>
                  <a:lnTo>
                    <a:pt x="83" y="840"/>
                  </a:lnTo>
                  <a:lnTo>
                    <a:pt x="115" y="908"/>
                  </a:lnTo>
                  <a:lnTo>
                    <a:pt x="157" y="968"/>
                  </a:lnTo>
                  <a:lnTo>
                    <a:pt x="182" y="995"/>
                  </a:lnTo>
                  <a:lnTo>
                    <a:pt x="207" y="1018"/>
                  </a:lnTo>
                  <a:lnTo>
                    <a:pt x="279" y="1067"/>
                  </a:lnTo>
                  <a:lnTo>
                    <a:pt x="366" y="1114"/>
                  </a:lnTo>
                  <a:lnTo>
                    <a:pt x="457" y="1152"/>
                  </a:lnTo>
                  <a:lnTo>
                    <a:pt x="500" y="1166"/>
                  </a:lnTo>
                  <a:lnTo>
                    <a:pt x="570" y="1188"/>
                  </a:lnTo>
                  <a:lnTo>
                    <a:pt x="570" y="1553"/>
                  </a:lnTo>
                  <a:lnTo>
                    <a:pt x="570" y="1696"/>
                  </a:lnTo>
                  <a:lnTo>
                    <a:pt x="566" y="1831"/>
                  </a:lnTo>
                  <a:lnTo>
                    <a:pt x="559" y="1885"/>
                  </a:lnTo>
                  <a:lnTo>
                    <a:pt x="550" y="1907"/>
                  </a:lnTo>
                  <a:lnTo>
                    <a:pt x="542" y="1916"/>
                  </a:lnTo>
                  <a:lnTo>
                    <a:pt x="525" y="1919"/>
                  </a:lnTo>
                  <a:lnTo>
                    <a:pt x="477" y="1896"/>
                  </a:lnTo>
                  <a:lnTo>
                    <a:pt x="427" y="1861"/>
                  </a:lnTo>
                  <a:lnTo>
                    <a:pt x="395" y="1839"/>
                  </a:lnTo>
                  <a:lnTo>
                    <a:pt x="344" y="1786"/>
                  </a:lnTo>
                  <a:lnTo>
                    <a:pt x="304" y="1721"/>
                  </a:lnTo>
                  <a:lnTo>
                    <a:pt x="273" y="1641"/>
                  </a:lnTo>
                  <a:lnTo>
                    <a:pt x="262" y="1593"/>
                  </a:lnTo>
                  <a:lnTo>
                    <a:pt x="251" y="1555"/>
                  </a:lnTo>
                  <a:lnTo>
                    <a:pt x="235" y="1521"/>
                  </a:lnTo>
                  <a:lnTo>
                    <a:pt x="224" y="1512"/>
                  </a:lnTo>
                  <a:lnTo>
                    <a:pt x="218" y="1511"/>
                  </a:lnTo>
                  <a:lnTo>
                    <a:pt x="178" y="1518"/>
                  </a:lnTo>
                  <a:lnTo>
                    <a:pt x="98" y="1533"/>
                  </a:lnTo>
                  <a:lnTo>
                    <a:pt x="0" y="1553"/>
                  </a:lnTo>
                  <a:lnTo>
                    <a:pt x="12" y="1613"/>
                  </a:lnTo>
                  <a:lnTo>
                    <a:pt x="18" y="1647"/>
                  </a:lnTo>
                  <a:lnTo>
                    <a:pt x="36" y="1713"/>
                  </a:lnTo>
                  <a:lnTo>
                    <a:pt x="59" y="1776"/>
                  </a:lnTo>
                  <a:lnTo>
                    <a:pt x="86" y="1835"/>
                  </a:lnTo>
                  <a:lnTo>
                    <a:pt x="118" y="1889"/>
                  </a:lnTo>
                  <a:lnTo>
                    <a:pt x="154" y="1938"/>
                  </a:lnTo>
                  <a:lnTo>
                    <a:pt x="194" y="1981"/>
                  </a:lnTo>
                  <a:lnTo>
                    <a:pt x="236" y="2017"/>
                  </a:lnTo>
                  <a:lnTo>
                    <a:pt x="258" y="2031"/>
                  </a:lnTo>
                  <a:lnTo>
                    <a:pt x="288" y="2048"/>
                  </a:lnTo>
                  <a:lnTo>
                    <a:pt x="387" y="2084"/>
                  </a:lnTo>
                  <a:lnTo>
                    <a:pt x="440" y="2098"/>
                  </a:lnTo>
                  <a:lnTo>
                    <a:pt x="562" y="2130"/>
                  </a:lnTo>
                  <a:lnTo>
                    <a:pt x="567" y="2248"/>
                  </a:lnTo>
                  <a:lnTo>
                    <a:pt x="572" y="2368"/>
                  </a:lnTo>
                  <a:lnTo>
                    <a:pt x="642" y="2363"/>
                  </a:lnTo>
                  <a:lnTo>
                    <a:pt x="712" y="2358"/>
                  </a:lnTo>
                  <a:lnTo>
                    <a:pt x="717" y="2236"/>
                  </a:lnTo>
                  <a:lnTo>
                    <a:pt x="722" y="2116"/>
                  </a:lnTo>
                  <a:lnTo>
                    <a:pt x="770" y="2116"/>
                  </a:lnTo>
                  <a:lnTo>
                    <a:pt x="802" y="2114"/>
                  </a:lnTo>
                  <a:lnTo>
                    <a:pt x="880" y="2093"/>
                  </a:lnTo>
                  <a:lnTo>
                    <a:pt x="965" y="2056"/>
                  </a:lnTo>
                  <a:lnTo>
                    <a:pt x="1044" y="2008"/>
                  </a:lnTo>
                  <a:lnTo>
                    <a:pt x="1077" y="1981"/>
                  </a:lnTo>
                  <a:lnTo>
                    <a:pt x="1105" y="1955"/>
                  </a:lnTo>
                  <a:lnTo>
                    <a:pt x="1156" y="1893"/>
                  </a:lnTo>
                  <a:lnTo>
                    <a:pt x="1198" y="1824"/>
                  </a:lnTo>
                  <a:lnTo>
                    <a:pt x="1230" y="1750"/>
                  </a:lnTo>
                  <a:lnTo>
                    <a:pt x="1253" y="1671"/>
                  </a:lnTo>
                  <a:lnTo>
                    <a:pt x="1265" y="1591"/>
                  </a:lnTo>
                  <a:lnTo>
                    <a:pt x="1267" y="1510"/>
                  </a:lnTo>
                  <a:lnTo>
                    <a:pt x="1257" y="1431"/>
                  </a:lnTo>
                  <a:lnTo>
                    <a:pt x="1247" y="1393"/>
                  </a:lnTo>
                  <a:lnTo>
                    <a:pt x="1236" y="1357"/>
                  </a:lnTo>
                  <a:lnTo>
                    <a:pt x="1209" y="1293"/>
                  </a:lnTo>
                  <a:lnTo>
                    <a:pt x="1177" y="1236"/>
                  </a:lnTo>
                  <a:lnTo>
                    <a:pt x="1138" y="1185"/>
                  </a:lnTo>
                  <a:lnTo>
                    <a:pt x="1091" y="1141"/>
                  </a:lnTo>
                  <a:lnTo>
                    <a:pt x="1036" y="1103"/>
                  </a:lnTo>
                  <a:lnTo>
                    <a:pt x="972" y="1068"/>
                  </a:lnTo>
                  <a:lnTo>
                    <a:pt x="897" y="1037"/>
                  </a:lnTo>
                  <a:lnTo>
                    <a:pt x="855" y="1023"/>
                  </a:lnTo>
                  <a:lnTo>
                    <a:pt x="720" y="978"/>
                  </a:lnTo>
                  <a:lnTo>
                    <a:pt x="720" y="646"/>
                  </a:lnTo>
                  <a:lnTo>
                    <a:pt x="721" y="496"/>
                  </a:lnTo>
                  <a:lnTo>
                    <a:pt x="727" y="361"/>
                  </a:lnTo>
                  <a:lnTo>
                    <a:pt x="733" y="320"/>
                  </a:lnTo>
                  <a:lnTo>
                    <a:pt x="737" y="316"/>
                  </a:lnTo>
                  <a:lnTo>
                    <a:pt x="751" y="317"/>
                  </a:lnTo>
                  <a:lnTo>
                    <a:pt x="783" y="328"/>
                  </a:lnTo>
                  <a:lnTo>
                    <a:pt x="816" y="347"/>
                  </a:lnTo>
                  <a:lnTo>
                    <a:pt x="849" y="373"/>
                  </a:lnTo>
                  <a:lnTo>
                    <a:pt x="881" y="406"/>
                  </a:lnTo>
                  <a:lnTo>
                    <a:pt x="909" y="443"/>
                  </a:lnTo>
                  <a:lnTo>
                    <a:pt x="934" y="483"/>
                  </a:lnTo>
                  <a:lnTo>
                    <a:pt x="952" y="524"/>
                  </a:lnTo>
                  <a:lnTo>
                    <a:pt x="958" y="545"/>
                  </a:lnTo>
                  <a:lnTo>
                    <a:pt x="978" y="620"/>
                  </a:lnTo>
                  <a:lnTo>
                    <a:pt x="1062" y="608"/>
                  </a:lnTo>
                  <a:lnTo>
                    <a:pt x="1115" y="601"/>
                  </a:lnTo>
                  <a:lnTo>
                    <a:pt x="1182" y="589"/>
                  </a:lnTo>
                  <a:lnTo>
                    <a:pt x="1206" y="577"/>
                  </a:lnTo>
                  <a:lnTo>
                    <a:pt x="1213" y="567"/>
                  </a:lnTo>
                  <a:lnTo>
                    <a:pt x="1215" y="546"/>
                  </a:lnTo>
                  <a:lnTo>
                    <a:pt x="1212" y="526"/>
                  </a:lnTo>
                  <a:lnTo>
                    <a:pt x="1204" y="495"/>
                  </a:lnTo>
                  <a:lnTo>
                    <a:pt x="1183" y="434"/>
                  </a:lnTo>
                  <a:lnTo>
                    <a:pt x="1154" y="376"/>
                  </a:lnTo>
                  <a:lnTo>
                    <a:pt x="1119" y="323"/>
                  </a:lnTo>
                  <a:lnTo>
                    <a:pt x="1078" y="273"/>
                  </a:lnTo>
                  <a:lnTo>
                    <a:pt x="1031" y="230"/>
                  </a:lnTo>
                  <a:lnTo>
                    <a:pt x="980" y="193"/>
                  </a:lnTo>
                  <a:lnTo>
                    <a:pt x="925" y="163"/>
                  </a:lnTo>
                  <a:lnTo>
                    <a:pt x="897" y="151"/>
                  </a:lnTo>
                  <a:lnTo>
                    <a:pt x="857" y="138"/>
                  </a:lnTo>
                  <a:lnTo>
                    <a:pt x="783" y="118"/>
                  </a:lnTo>
                  <a:lnTo>
                    <a:pt x="762" y="116"/>
                  </a:lnTo>
                  <a:lnTo>
                    <a:pt x="749" y="116"/>
                  </a:lnTo>
                  <a:lnTo>
                    <a:pt x="732" y="112"/>
                  </a:lnTo>
                  <a:lnTo>
                    <a:pt x="723" y="100"/>
                  </a:lnTo>
                  <a:lnTo>
                    <a:pt x="720" y="76"/>
                  </a:lnTo>
                  <a:lnTo>
                    <a:pt x="720" y="58"/>
                  </a:lnTo>
                  <a:lnTo>
                    <a:pt x="720" y="38"/>
                  </a:lnTo>
                  <a:lnTo>
                    <a:pt x="716" y="13"/>
                  </a:lnTo>
                  <a:lnTo>
                    <a:pt x="702" y="2"/>
                  </a:lnTo>
                  <a:lnTo>
                    <a:pt x="671" y="0"/>
                  </a:lnTo>
                  <a:lnTo>
                    <a:pt x="645" y="0"/>
                  </a:lnTo>
                  <a:lnTo>
                    <a:pt x="620" y="0"/>
                  </a:lnTo>
                  <a:lnTo>
                    <a:pt x="588" y="2"/>
                  </a:lnTo>
                  <a:lnTo>
                    <a:pt x="574" y="13"/>
                  </a:lnTo>
                  <a:lnTo>
                    <a:pt x="570" y="37"/>
                  </a:lnTo>
                  <a:lnTo>
                    <a:pt x="570" y="56"/>
                  </a:lnTo>
                  <a:close/>
                  <a:moveTo>
                    <a:pt x="570" y="633"/>
                  </a:moveTo>
                  <a:lnTo>
                    <a:pt x="570" y="950"/>
                  </a:lnTo>
                  <a:lnTo>
                    <a:pt x="508" y="925"/>
                  </a:lnTo>
                  <a:lnTo>
                    <a:pt x="481" y="913"/>
                  </a:lnTo>
                  <a:lnTo>
                    <a:pt x="434" y="889"/>
                  </a:lnTo>
                  <a:lnTo>
                    <a:pt x="394" y="862"/>
                  </a:lnTo>
                  <a:lnTo>
                    <a:pt x="362" y="833"/>
                  </a:lnTo>
                  <a:lnTo>
                    <a:pt x="335" y="800"/>
                  </a:lnTo>
                  <a:lnTo>
                    <a:pt x="315" y="764"/>
                  </a:lnTo>
                  <a:lnTo>
                    <a:pt x="301" y="723"/>
                  </a:lnTo>
                  <a:lnTo>
                    <a:pt x="292" y="678"/>
                  </a:lnTo>
                  <a:lnTo>
                    <a:pt x="290" y="653"/>
                  </a:lnTo>
                  <a:lnTo>
                    <a:pt x="289" y="627"/>
                  </a:lnTo>
                  <a:lnTo>
                    <a:pt x="291" y="577"/>
                  </a:lnTo>
                  <a:lnTo>
                    <a:pt x="300" y="531"/>
                  </a:lnTo>
                  <a:lnTo>
                    <a:pt x="315" y="489"/>
                  </a:lnTo>
                  <a:lnTo>
                    <a:pt x="336" y="450"/>
                  </a:lnTo>
                  <a:lnTo>
                    <a:pt x="364" y="415"/>
                  </a:lnTo>
                  <a:lnTo>
                    <a:pt x="398" y="383"/>
                  </a:lnTo>
                  <a:lnTo>
                    <a:pt x="439" y="355"/>
                  </a:lnTo>
                  <a:lnTo>
                    <a:pt x="462" y="343"/>
                  </a:lnTo>
                  <a:lnTo>
                    <a:pt x="499" y="323"/>
                  </a:lnTo>
                  <a:lnTo>
                    <a:pt x="536" y="313"/>
                  </a:lnTo>
                  <a:lnTo>
                    <a:pt x="552" y="322"/>
                  </a:lnTo>
                  <a:lnTo>
                    <a:pt x="562" y="349"/>
                  </a:lnTo>
                  <a:lnTo>
                    <a:pt x="567" y="397"/>
                  </a:lnTo>
                  <a:lnTo>
                    <a:pt x="570" y="512"/>
                  </a:lnTo>
                  <a:lnTo>
                    <a:pt x="570" y="633"/>
                  </a:lnTo>
                  <a:close/>
                  <a:moveTo>
                    <a:pt x="865" y="1286"/>
                  </a:moveTo>
                  <a:lnTo>
                    <a:pt x="886" y="1296"/>
                  </a:lnTo>
                  <a:lnTo>
                    <a:pt x="922" y="1318"/>
                  </a:lnTo>
                  <a:lnTo>
                    <a:pt x="950" y="1341"/>
                  </a:lnTo>
                  <a:lnTo>
                    <a:pt x="973" y="1368"/>
                  </a:lnTo>
                  <a:lnTo>
                    <a:pt x="989" y="1399"/>
                  </a:lnTo>
                  <a:lnTo>
                    <a:pt x="1001" y="1436"/>
                  </a:lnTo>
                  <a:lnTo>
                    <a:pt x="1011" y="1504"/>
                  </a:lnTo>
                  <a:lnTo>
                    <a:pt x="1012" y="1561"/>
                  </a:lnTo>
                  <a:lnTo>
                    <a:pt x="1012" y="1604"/>
                  </a:lnTo>
                  <a:lnTo>
                    <a:pt x="1008" y="1665"/>
                  </a:lnTo>
                  <a:lnTo>
                    <a:pt x="998" y="1707"/>
                  </a:lnTo>
                  <a:lnTo>
                    <a:pt x="977" y="1746"/>
                  </a:lnTo>
                  <a:lnTo>
                    <a:pt x="962" y="1770"/>
                  </a:lnTo>
                  <a:lnTo>
                    <a:pt x="941" y="1797"/>
                  </a:lnTo>
                  <a:lnTo>
                    <a:pt x="886" y="1848"/>
                  </a:lnTo>
                  <a:lnTo>
                    <a:pt x="827" y="1890"/>
                  </a:lnTo>
                  <a:lnTo>
                    <a:pt x="785" y="1909"/>
                  </a:lnTo>
                  <a:lnTo>
                    <a:pt x="760" y="1916"/>
                  </a:lnTo>
                  <a:lnTo>
                    <a:pt x="750" y="1916"/>
                  </a:lnTo>
                  <a:lnTo>
                    <a:pt x="745" y="1916"/>
                  </a:lnTo>
                  <a:lnTo>
                    <a:pt x="737" y="1912"/>
                  </a:lnTo>
                  <a:lnTo>
                    <a:pt x="728" y="1893"/>
                  </a:lnTo>
                  <a:lnTo>
                    <a:pt x="720" y="1774"/>
                  </a:lnTo>
                  <a:lnTo>
                    <a:pt x="720" y="1573"/>
                  </a:lnTo>
                  <a:lnTo>
                    <a:pt x="720" y="1231"/>
                  </a:lnTo>
                  <a:lnTo>
                    <a:pt x="758" y="1241"/>
                  </a:lnTo>
                  <a:lnTo>
                    <a:pt x="802" y="1258"/>
                  </a:lnTo>
                  <a:lnTo>
                    <a:pt x="865" y="1286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14" name="Freeform 59"/>
            <p:cNvSpPr>
              <a:spLocks/>
            </p:cNvSpPr>
            <p:nvPr/>
          </p:nvSpPr>
          <p:spPr bwMode="auto">
            <a:xfrm>
              <a:off x="4566" y="2539"/>
              <a:ext cx="917" cy="78"/>
            </a:xfrm>
            <a:custGeom>
              <a:avLst/>
              <a:gdLst>
                <a:gd name="T0" fmla="*/ 26 w 2337"/>
                <a:gd name="T1" fmla="*/ 30 h 200"/>
                <a:gd name="T2" fmla="*/ 14 w 2337"/>
                <a:gd name="T3" fmla="*/ 46 h 200"/>
                <a:gd name="T4" fmla="*/ 0 w 2337"/>
                <a:gd name="T5" fmla="*/ 84 h 200"/>
                <a:gd name="T6" fmla="*/ 1 w 2337"/>
                <a:gd name="T7" fmla="*/ 123 h 200"/>
                <a:gd name="T8" fmla="*/ 15 w 2337"/>
                <a:gd name="T9" fmla="*/ 159 h 200"/>
                <a:gd name="T10" fmla="*/ 28 w 2337"/>
                <a:gd name="T11" fmla="*/ 173 h 200"/>
                <a:gd name="T12" fmla="*/ 34 w 2337"/>
                <a:gd name="T13" fmla="*/ 178 h 200"/>
                <a:gd name="T14" fmla="*/ 56 w 2337"/>
                <a:gd name="T15" fmla="*/ 185 h 200"/>
                <a:gd name="T16" fmla="*/ 128 w 2337"/>
                <a:gd name="T17" fmla="*/ 193 h 200"/>
                <a:gd name="T18" fmla="*/ 519 w 2337"/>
                <a:gd name="T19" fmla="*/ 199 h 200"/>
                <a:gd name="T20" fmla="*/ 1160 w 2337"/>
                <a:gd name="T21" fmla="*/ 200 h 200"/>
                <a:gd name="T22" fmla="*/ 1601 w 2337"/>
                <a:gd name="T23" fmla="*/ 199 h 200"/>
                <a:gd name="T24" fmla="*/ 2213 w 2337"/>
                <a:gd name="T25" fmla="*/ 195 h 200"/>
                <a:gd name="T26" fmla="*/ 2285 w 2337"/>
                <a:gd name="T27" fmla="*/ 191 h 200"/>
                <a:gd name="T28" fmla="*/ 2300 w 2337"/>
                <a:gd name="T29" fmla="*/ 183 h 200"/>
                <a:gd name="T30" fmla="*/ 2324 w 2337"/>
                <a:gd name="T31" fmla="*/ 154 h 200"/>
                <a:gd name="T32" fmla="*/ 2337 w 2337"/>
                <a:gd name="T33" fmla="*/ 116 h 200"/>
                <a:gd name="T34" fmla="*/ 2336 w 2337"/>
                <a:gd name="T35" fmla="*/ 78 h 200"/>
                <a:gd name="T36" fmla="*/ 2330 w 2337"/>
                <a:gd name="T37" fmla="*/ 61 h 200"/>
                <a:gd name="T38" fmla="*/ 2320 w 2337"/>
                <a:gd name="T39" fmla="*/ 46 h 200"/>
                <a:gd name="T40" fmla="*/ 2300 w 2337"/>
                <a:gd name="T41" fmla="*/ 20 h 200"/>
                <a:gd name="T42" fmla="*/ 2291 w 2337"/>
                <a:gd name="T43" fmla="*/ 13 h 200"/>
                <a:gd name="T44" fmla="*/ 2222 w 2337"/>
                <a:gd name="T45" fmla="*/ 8 h 200"/>
                <a:gd name="T46" fmla="*/ 1608 w 2337"/>
                <a:gd name="T47" fmla="*/ 0 h 200"/>
                <a:gd name="T48" fmla="*/ 1163 w 2337"/>
                <a:gd name="T49" fmla="*/ 0 h 200"/>
                <a:gd name="T50" fmla="*/ 497 w 2337"/>
                <a:gd name="T51" fmla="*/ 0 h 200"/>
                <a:gd name="T52" fmla="*/ 113 w 2337"/>
                <a:gd name="T53" fmla="*/ 7 h 200"/>
                <a:gd name="T54" fmla="*/ 49 w 2337"/>
                <a:gd name="T55" fmla="*/ 16 h 200"/>
                <a:gd name="T56" fmla="*/ 31 w 2337"/>
                <a:gd name="T57" fmla="*/ 25 h 200"/>
                <a:gd name="T58" fmla="*/ 26 w 2337"/>
                <a:gd name="T59" fmla="*/ 3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37" h="200">
                  <a:moveTo>
                    <a:pt x="26" y="30"/>
                  </a:moveTo>
                  <a:lnTo>
                    <a:pt x="14" y="46"/>
                  </a:lnTo>
                  <a:lnTo>
                    <a:pt x="0" y="84"/>
                  </a:lnTo>
                  <a:lnTo>
                    <a:pt x="1" y="123"/>
                  </a:lnTo>
                  <a:lnTo>
                    <a:pt x="15" y="159"/>
                  </a:lnTo>
                  <a:lnTo>
                    <a:pt x="28" y="173"/>
                  </a:lnTo>
                  <a:lnTo>
                    <a:pt x="34" y="178"/>
                  </a:lnTo>
                  <a:lnTo>
                    <a:pt x="56" y="185"/>
                  </a:lnTo>
                  <a:lnTo>
                    <a:pt x="128" y="193"/>
                  </a:lnTo>
                  <a:lnTo>
                    <a:pt x="519" y="199"/>
                  </a:lnTo>
                  <a:lnTo>
                    <a:pt x="1160" y="200"/>
                  </a:lnTo>
                  <a:lnTo>
                    <a:pt x="1601" y="199"/>
                  </a:lnTo>
                  <a:lnTo>
                    <a:pt x="2213" y="195"/>
                  </a:lnTo>
                  <a:lnTo>
                    <a:pt x="2285" y="191"/>
                  </a:lnTo>
                  <a:lnTo>
                    <a:pt x="2300" y="183"/>
                  </a:lnTo>
                  <a:lnTo>
                    <a:pt x="2324" y="154"/>
                  </a:lnTo>
                  <a:lnTo>
                    <a:pt x="2337" y="116"/>
                  </a:lnTo>
                  <a:lnTo>
                    <a:pt x="2336" y="78"/>
                  </a:lnTo>
                  <a:lnTo>
                    <a:pt x="2330" y="61"/>
                  </a:lnTo>
                  <a:lnTo>
                    <a:pt x="2320" y="46"/>
                  </a:lnTo>
                  <a:lnTo>
                    <a:pt x="2300" y="20"/>
                  </a:lnTo>
                  <a:lnTo>
                    <a:pt x="2291" y="13"/>
                  </a:lnTo>
                  <a:lnTo>
                    <a:pt x="2222" y="8"/>
                  </a:lnTo>
                  <a:lnTo>
                    <a:pt x="1608" y="0"/>
                  </a:lnTo>
                  <a:lnTo>
                    <a:pt x="1163" y="0"/>
                  </a:lnTo>
                  <a:lnTo>
                    <a:pt x="497" y="0"/>
                  </a:lnTo>
                  <a:lnTo>
                    <a:pt x="113" y="7"/>
                  </a:lnTo>
                  <a:lnTo>
                    <a:pt x="49" y="16"/>
                  </a:lnTo>
                  <a:lnTo>
                    <a:pt x="31" y="25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15" name="Freeform 60"/>
            <p:cNvSpPr>
              <a:spLocks/>
            </p:cNvSpPr>
            <p:nvPr/>
          </p:nvSpPr>
          <p:spPr bwMode="auto">
            <a:xfrm>
              <a:off x="4566" y="2820"/>
              <a:ext cx="918" cy="85"/>
            </a:xfrm>
            <a:custGeom>
              <a:avLst/>
              <a:gdLst>
                <a:gd name="T0" fmla="*/ 27 w 2339"/>
                <a:gd name="T1" fmla="*/ 30 h 217"/>
                <a:gd name="T2" fmla="*/ 13 w 2339"/>
                <a:gd name="T3" fmla="*/ 48 h 217"/>
                <a:gd name="T4" fmla="*/ 0 w 2339"/>
                <a:gd name="T5" fmla="*/ 88 h 217"/>
                <a:gd name="T6" fmla="*/ 4 w 2339"/>
                <a:gd name="T7" fmla="*/ 129 h 217"/>
                <a:gd name="T8" fmla="*/ 25 w 2339"/>
                <a:gd name="T9" fmla="*/ 166 h 217"/>
                <a:gd name="T10" fmla="*/ 42 w 2339"/>
                <a:gd name="T11" fmla="*/ 182 h 217"/>
                <a:gd name="T12" fmla="*/ 50 w 2339"/>
                <a:gd name="T13" fmla="*/ 188 h 217"/>
                <a:gd name="T14" fmla="*/ 70 w 2339"/>
                <a:gd name="T15" fmla="*/ 198 h 217"/>
                <a:gd name="T16" fmla="*/ 106 w 2339"/>
                <a:gd name="T17" fmla="*/ 206 h 217"/>
                <a:gd name="T18" fmla="*/ 170 w 2339"/>
                <a:gd name="T19" fmla="*/ 211 h 217"/>
                <a:gd name="T20" fmla="*/ 495 w 2339"/>
                <a:gd name="T21" fmla="*/ 217 h 217"/>
                <a:gd name="T22" fmla="*/ 1159 w 2339"/>
                <a:gd name="T23" fmla="*/ 217 h 217"/>
                <a:gd name="T24" fmla="*/ 1625 w 2339"/>
                <a:gd name="T25" fmla="*/ 216 h 217"/>
                <a:gd name="T26" fmla="*/ 2089 w 2339"/>
                <a:gd name="T27" fmla="*/ 210 h 217"/>
                <a:gd name="T28" fmla="*/ 2251 w 2339"/>
                <a:gd name="T29" fmla="*/ 204 h 217"/>
                <a:gd name="T30" fmla="*/ 2274 w 2339"/>
                <a:gd name="T31" fmla="*/ 200 h 217"/>
                <a:gd name="T32" fmla="*/ 2288 w 2339"/>
                <a:gd name="T33" fmla="*/ 194 h 217"/>
                <a:gd name="T34" fmla="*/ 2310 w 2339"/>
                <a:gd name="T35" fmla="*/ 177 h 217"/>
                <a:gd name="T36" fmla="*/ 2327 w 2339"/>
                <a:gd name="T37" fmla="*/ 154 h 217"/>
                <a:gd name="T38" fmla="*/ 2336 w 2339"/>
                <a:gd name="T39" fmla="*/ 127 h 217"/>
                <a:gd name="T40" fmla="*/ 2339 w 2339"/>
                <a:gd name="T41" fmla="*/ 99 h 217"/>
                <a:gd name="T42" fmla="*/ 2335 w 2339"/>
                <a:gd name="T43" fmla="*/ 71 h 217"/>
                <a:gd name="T44" fmla="*/ 2324 w 2339"/>
                <a:gd name="T45" fmla="*/ 45 h 217"/>
                <a:gd name="T46" fmla="*/ 2305 w 2339"/>
                <a:gd name="T47" fmla="*/ 23 h 217"/>
                <a:gd name="T48" fmla="*/ 2292 w 2339"/>
                <a:gd name="T49" fmla="*/ 14 h 217"/>
                <a:gd name="T50" fmla="*/ 2223 w 2339"/>
                <a:gd name="T51" fmla="*/ 9 h 217"/>
                <a:gd name="T52" fmla="*/ 1609 w 2339"/>
                <a:gd name="T53" fmla="*/ 1 h 217"/>
                <a:gd name="T54" fmla="*/ 1164 w 2339"/>
                <a:gd name="T55" fmla="*/ 0 h 217"/>
                <a:gd name="T56" fmla="*/ 498 w 2339"/>
                <a:gd name="T57" fmla="*/ 1 h 217"/>
                <a:gd name="T58" fmla="*/ 114 w 2339"/>
                <a:gd name="T59" fmla="*/ 8 h 217"/>
                <a:gd name="T60" fmla="*/ 50 w 2339"/>
                <a:gd name="T61" fmla="*/ 17 h 217"/>
                <a:gd name="T62" fmla="*/ 32 w 2339"/>
                <a:gd name="T63" fmla="*/ 25 h 217"/>
                <a:gd name="T64" fmla="*/ 27 w 2339"/>
                <a:gd name="T65" fmla="*/ 3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39" h="217">
                  <a:moveTo>
                    <a:pt x="27" y="30"/>
                  </a:moveTo>
                  <a:lnTo>
                    <a:pt x="13" y="48"/>
                  </a:lnTo>
                  <a:lnTo>
                    <a:pt x="0" y="88"/>
                  </a:lnTo>
                  <a:lnTo>
                    <a:pt x="4" y="129"/>
                  </a:lnTo>
                  <a:lnTo>
                    <a:pt x="25" y="166"/>
                  </a:lnTo>
                  <a:lnTo>
                    <a:pt x="42" y="182"/>
                  </a:lnTo>
                  <a:lnTo>
                    <a:pt x="50" y="188"/>
                  </a:lnTo>
                  <a:lnTo>
                    <a:pt x="70" y="198"/>
                  </a:lnTo>
                  <a:lnTo>
                    <a:pt x="106" y="206"/>
                  </a:lnTo>
                  <a:lnTo>
                    <a:pt x="170" y="211"/>
                  </a:lnTo>
                  <a:lnTo>
                    <a:pt x="495" y="217"/>
                  </a:lnTo>
                  <a:lnTo>
                    <a:pt x="1159" y="217"/>
                  </a:lnTo>
                  <a:lnTo>
                    <a:pt x="1625" y="216"/>
                  </a:lnTo>
                  <a:lnTo>
                    <a:pt x="2089" y="210"/>
                  </a:lnTo>
                  <a:lnTo>
                    <a:pt x="2251" y="204"/>
                  </a:lnTo>
                  <a:lnTo>
                    <a:pt x="2274" y="200"/>
                  </a:lnTo>
                  <a:lnTo>
                    <a:pt x="2288" y="194"/>
                  </a:lnTo>
                  <a:lnTo>
                    <a:pt x="2310" y="177"/>
                  </a:lnTo>
                  <a:lnTo>
                    <a:pt x="2327" y="154"/>
                  </a:lnTo>
                  <a:lnTo>
                    <a:pt x="2336" y="127"/>
                  </a:lnTo>
                  <a:lnTo>
                    <a:pt x="2339" y="99"/>
                  </a:lnTo>
                  <a:lnTo>
                    <a:pt x="2335" y="71"/>
                  </a:lnTo>
                  <a:lnTo>
                    <a:pt x="2324" y="45"/>
                  </a:lnTo>
                  <a:lnTo>
                    <a:pt x="2305" y="23"/>
                  </a:lnTo>
                  <a:lnTo>
                    <a:pt x="2292" y="14"/>
                  </a:lnTo>
                  <a:lnTo>
                    <a:pt x="2223" y="9"/>
                  </a:lnTo>
                  <a:lnTo>
                    <a:pt x="1609" y="1"/>
                  </a:lnTo>
                  <a:lnTo>
                    <a:pt x="1164" y="0"/>
                  </a:lnTo>
                  <a:lnTo>
                    <a:pt x="498" y="1"/>
                  </a:lnTo>
                  <a:lnTo>
                    <a:pt x="114" y="8"/>
                  </a:lnTo>
                  <a:lnTo>
                    <a:pt x="50" y="17"/>
                  </a:lnTo>
                  <a:lnTo>
                    <a:pt x="32" y="25"/>
                  </a:lnTo>
                  <a:lnTo>
                    <a:pt x="27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16" name="Freeform 61"/>
            <p:cNvSpPr>
              <a:spLocks/>
            </p:cNvSpPr>
            <p:nvPr/>
          </p:nvSpPr>
          <p:spPr bwMode="auto">
            <a:xfrm>
              <a:off x="4566" y="3101"/>
              <a:ext cx="915" cy="85"/>
            </a:xfrm>
            <a:custGeom>
              <a:avLst/>
              <a:gdLst>
                <a:gd name="T0" fmla="*/ 28 w 2333"/>
                <a:gd name="T1" fmla="*/ 30 h 217"/>
                <a:gd name="T2" fmla="*/ 18 w 2333"/>
                <a:gd name="T3" fmla="*/ 43 h 217"/>
                <a:gd name="T4" fmla="*/ 4 w 2333"/>
                <a:gd name="T5" fmla="*/ 77 h 217"/>
                <a:gd name="T6" fmla="*/ 0 w 2333"/>
                <a:gd name="T7" fmla="*/ 113 h 217"/>
                <a:gd name="T8" fmla="*/ 6 w 2333"/>
                <a:gd name="T9" fmla="*/ 147 h 217"/>
                <a:gd name="T10" fmla="*/ 13 w 2333"/>
                <a:gd name="T11" fmla="*/ 160 h 217"/>
                <a:gd name="T12" fmla="*/ 20 w 2333"/>
                <a:gd name="T13" fmla="*/ 170 h 217"/>
                <a:gd name="T14" fmla="*/ 40 w 2333"/>
                <a:gd name="T15" fmla="*/ 186 h 217"/>
                <a:gd name="T16" fmla="*/ 80 w 2333"/>
                <a:gd name="T17" fmla="*/ 198 h 217"/>
                <a:gd name="T18" fmla="*/ 150 w 2333"/>
                <a:gd name="T19" fmla="*/ 206 h 217"/>
                <a:gd name="T20" fmla="*/ 331 w 2333"/>
                <a:gd name="T21" fmla="*/ 214 h 217"/>
                <a:gd name="T22" fmla="*/ 797 w 2333"/>
                <a:gd name="T23" fmla="*/ 217 h 217"/>
                <a:gd name="T24" fmla="*/ 1167 w 2333"/>
                <a:gd name="T25" fmla="*/ 217 h 217"/>
                <a:gd name="T26" fmla="*/ 1536 w 2333"/>
                <a:gd name="T27" fmla="*/ 217 h 217"/>
                <a:gd name="T28" fmla="*/ 2003 w 2333"/>
                <a:gd name="T29" fmla="*/ 214 h 217"/>
                <a:gd name="T30" fmla="*/ 2184 w 2333"/>
                <a:gd name="T31" fmla="*/ 206 h 217"/>
                <a:gd name="T32" fmla="*/ 2254 w 2333"/>
                <a:gd name="T33" fmla="*/ 198 h 217"/>
                <a:gd name="T34" fmla="*/ 2293 w 2333"/>
                <a:gd name="T35" fmla="*/ 186 h 217"/>
                <a:gd name="T36" fmla="*/ 2313 w 2333"/>
                <a:gd name="T37" fmla="*/ 170 h 217"/>
                <a:gd name="T38" fmla="*/ 2320 w 2333"/>
                <a:gd name="T39" fmla="*/ 160 h 217"/>
                <a:gd name="T40" fmla="*/ 2328 w 2333"/>
                <a:gd name="T41" fmla="*/ 146 h 217"/>
                <a:gd name="T42" fmla="*/ 2333 w 2333"/>
                <a:gd name="T43" fmla="*/ 111 h 217"/>
                <a:gd name="T44" fmla="*/ 2328 w 2333"/>
                <a:gd name="T45" fmla="*/ 73 h 217"/>
                <a:gd name="T46" fmla="*/ 2314 w 2333"/>
                <a:gd name="T47" fmla="*/ 40 h 217"/>
                <a:gd name="T48" fmla="*/ 2303 w 2333"/>
                <a:gd name="T49" fmla="*/ 28 h 217"/>
                <a:gd name="T50" fmla="*/ 2297 w 2333"/>
                <a:gd name="T51" fmla="*/ 24 h 217"/>
                <a:gd name="T52" fmla="*/ 2275 w 2333"/>
                <a:gd name="T53" fmla="*/ 16 h 217"/>
                <a:gd name="T54" fmla="*/ 2202 w 2333"/>
                <a:gd name="T55" fmla="*/ 7 h 217"/>
                <a:gd name="T56" fmla="*/ 1806 w 2333"/>
                <a:gd name="T57" fmla="*/ 0 h 217"/>
                <a:gd name="T58" fmla="*/ 1163 w 2333"/>
                <a:gd name="T59" fmla="*/ 0 h 217"/>
                <a:gd name="T60" fmla="*/ 499 w 2333"/>
                <a:gd name="T61" fmla="*/ 0 h 217"/>
                <a:gd name="T62" fmla="*/ 115 w 2333"/>
                <a:gd name="T63" fmla="*/ 8 h 217"/>
                <a:gd name="T64" fmla="*/ 51 w 2333"/>
                <a:gd name="T65" fmla="*/ 17 h 217"/>
                <a:gd name="T66" fmla="*/ 33 w 2333"/>
                <a:gd name="T67" fmla="*/ 25 h 217"/>
                <a:gd name="T68" fmla="*/ 28 w 2333"/>
                <a:gd name="T69" fmla="*/ 3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33" h="217">
                  <a:moveTo>
                    <a:pt x="28" y="30"/>
                  </a:moveTo>
                  <a:lnTo>
                    <a:pt x="18" y="43"/>
                  </a:lnTo>
                  <a:lnTo>
                    <a:pt x="4" y="77"/>
                  </a:lnTo>
                  <a:lnTo>
                    <a:pt x="0" y="113"/>
                  </a:lnTo>
                  <a:lnTo>
                    <a:pt x="6" y="147"/>
                  </a:lnTo>
                  <a:lnTo>
                    <a:pt x="13" y="160"/>
                  </a:lnTo>
                  <a:lnTo>
                    <a:pt x="20" y="170"/>
                  </a:lnTo>
                  <a:lnTo>
                    <a:pt x="40" y="186"/>
                  </a:lnTo>
                  <a:lnTo>
                    <a:pt x="80" y="198"/>
                  </a:lnTo>
                  <a:lnTo>
                    <a:pt x="150" y="206"/>
                  </a:lnTo>
                  <a:lnTo>
                    <a:pt x="331" y="214"/>
                  </a:lnTo>
                  <a:lnTo>
                    <a:pt x="797" y="217"/>
                  </a:lnTo>
                  <a:lnTo>
                    <a:pt x="1167" y="217"/>
                  </a:lnTo>
                  <a:lnTo>
                    <a:pt x="1536" y="217"/>
                  </a:lnTo>
                  <a:lnTo>
                    <a:pt x="2003" y="214"/>
                  </a:lnTo>
                  <a:lnTo>
                    <a:pt x="2184" y="206"/>
                  </a:lnTo>
                  <a:lnTo>
                    <a:pt x="2254" y="198"/>
                  </a:lnTo>
                  <a:lnTo>
                    <a:pt x="2293" y="186"/>
                  </a:lnTo>
                  <a:lnTo>
                    <a:pt x="2313" y="170"/>
                  </a:lnTo>
                  <a:lnTo>
                    <a:pt x="2320" y="160"/>
                  </a:lnTo>
                  <a:lnTo>
                    <a:pt x="2328" y="146"/>
                  </a:lnTo>
                  <a:lnTo>
                    <a:pt x="2333" y="111"/>
                  </a:lnTo>
                  <a:lnTo>
                    <a:pt x="2328" y="73"/>
                  </a:lnTo>
                  <a:lnTo>
                    <a:pt x="2314" y="40"/>
                  </a:lnTo>
                  <a:lnTo>
                    <a:pt x="2303" y="28"/>
                  </a:lnTo>
                  <a:lnTo>
                    <a:pt x="2297" y="24"/>
                  </a:lnTo>
                  <a:lnTo>
                    <a:pt x="2275" y="16"/>
                  </a:lnTo>
                  <a:lnTo>
                    <a:pt x="2202" y="7"/>
                  </a:lnTo>
                  <a:lnTo>
                    <a:pt x="1806" y="0"/>
                  </a:lnTo>
                  <a:lnTo>
                    <a:pt x="1163" y="0"/>
                  </a:lnTo>
                  <a:lnTo>
                    <a:pt x="499" y="0"/>
                  </a:lnTo>
                  <a:lnTo>
                    <a:pt x="115" y="8"/>
                  </a:lnTo>
                  <a:lnTo>
                    <a:pt x="51" y="17"/>
                  </a:lnTo>
                  <a:lnTo>
                    <a:pt x="33" y="25"/>
                  </a:lnTo>
                  <a:lnTo>
                    <a:pt x="28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17" name="Freeform 62"/>
            <p:cNvSpPr>
              <a:spLocks/>
            </p:cNvSpPr>
            <p:nvPr/>
          </p:nvSpPr>
          <p:spPr bwMode="auto">
            <a:xfrm>
              <a:off x="4566" y="3382"/>
              <a:ext cx="676" cy="85"/>
            </a:xfrm>
            <a:custGeom>
              <a:avLst/>
              <a:gdLst>
                <a:gd name="T0" fmla="*/ 33 w 1724"/>
                <a:gd name="T1" fmla="*/ 33 h 216"/>
                <a:gd name="T2" fmla="*/ 20 w 1724"/>
                <a:gd name="T3" fmla="*/ 49 h 216"/>
                <a:gd name="T4" fmla="*/ 2 w 1724"/>
                <a:gd name="T5" fmla="*/ 89 h 216"/>
                <a:gd name="T6" fmla="*/ 0 w 1724"/>
                <a:gd name="T7" fmla="*/ 108 h 216"/>
                <a:gd name="T8" fmla="*/ 2 w 1724"/>
                <a:gd name="T9" fmla="*/ 127 h 216"/>
                <a:gd name="T10" fmla="*/ 20 w 1724"/>
                <a:gd name="T11" fmla="*/ 167 h 216"/>
                <a:gd name="T12" fmla="*/ 33 w 1724"/>
                <a:gd name="T13" fmla="*/ 183 h 216"/>
                <a:gd name="T14" fmla="*/ 39 w 1724"/>
                <a:gd name="T15" fmla="*/ 189 h 216"/>
                <a:gd name="T16" fmla="*/ 55 w 1724"/>
                <a:gd name="T17" fmla="*/ 198 h 216"/>
                <a:gd name="T18" fmla="*/ 101 w 1724"/>
                <a:gd name="T19" fmla="*/ 208 h 216"/>
                <a:gd name="T20" fmla="*/ 260 w 1724"/>
                <a:gd name="T21" fmla="*/ 214 h 216"/>
                <a:gd name="T22" fmla="*/ 592 w 1724"/>
                <a:gd name="T23" fmla="*/ 216 h 216"/>
                <a:gd name="T24" fmla="*/ 857 w 1724"/>
                <a:gd name="T25" fmla="*/ 216 h 216"/>
                <a:gd name="T26" fmla="*/ 1320 w 1724"/>
                <a:gd name="T27" fmla="*/ 216 h 216"/>
                <a:gd name="T28" fmla="*/ 1602 w 1724"/>
                <a:gd name="T29" fmla="*/ 209 h 216"/>
                <a:gd name="T30" fmla="*/ 1655 w 1724"/>
                <a:gd name="T31" fmla="*/ 200 h 216"/>
                <a:gd name="T32" fmla="*/ 1674 w 1724"/>
                <a:gd name="T33" fmla="*/ 191 h 216"/>
                <a:gd name="T34" fmla="*/ 1680 w 1724"/>
                <a:gd name="T35" fmla="*/ 186 h 216"/>
                <a:gd name="T36" fmla="*/ 1698 w 1724"/>
                <a:gd name="T37" fmla="*/ 169 h 216"/>
                <a:gd name="T38" fmla="*/ 1720 w 1724"/>
                <a:gd name="T39" fmla="*/ 135 h 216"/>
                <a:gd name="T40" fmla="*/ 1724 w 1724"/>
                <a:gd name="T41" fmla="*/ 100 h 216"/>
                <a:gd name="T42" fmla="*/ 1712 w 1724"/>
                <a:gd name="T43" fmla="*/ 63 h 216"/>
                <a:gd name="T44" fmla="*/ 1698 w 1724"/>
                <a:gd name="T45" fmla="*/ 45 h 216"/>
                <a:gd name="T46" fmla="*/ 1665 w 1724"/>
                <a:gd name="T47" fmla="*/ 0 h 216"/>
                <a:gd name="T48" fmla="*/ 865 w 1724"/>
                <a:gd name="T49" fmla="*/ 0 h 216"/>
                <a:gd name="T50" fmla="*/ 597 w 1724"/>
                <a:gd name="T51" fmla="*/ 0 h 216"/>
                <a:gd name="T52" fmla="*/ 262 w 1724"/>
                <a:gd name="T53" fmla="*/ 2 h 216"/>
                <a:gd name="T54" fmla="*/ 101 w 1724"/>
                <a:gd name="T55" fmla="*/ 8 h 216"/>
                <a:gd name="T56" fmla="*/ 55 w 1724"/>
                <a:gd name="T57" fmla="*/ 18 h 216"/>
                <a:gd name="T58" fmla="*/ 39 w 1724"/>
                <a:gd name="T59" fmla="*/ 27 h 216"/>
                <a:gd name="T60" fmla="*/ 33 w 1724"/>
                <a:gd name="T61" fmla="*/ 33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24" h="216">
                  <a:moveTo>
                    <a:pt x="33" y="33"/>
                  </a:moveTo>
                  <a:lnTo>
                    <a:pt x="20" y="49"/>
                  </a:lnTo>
                  <a:lnTo>
                    <a:pt x="2" y="89"/>
                  </a:lnTo>
                  <a:lnTo>
                    <a:pt x="0" y="108"/>
                  </a:lnTo>
                  <a:lnTo>
                    <a:pt x="2" y="127"/>
                  </a:lnTo>
                  <a:lnTo>
                    <a:pt x="20" y="167"/>
                  </a:lnTo>
                  <a:lnTo>
                    <a:pt x="33" y="183"/>
                  </a:lnTo>
                  <a:lnTo>
                    <a:pt x="39" y="189"/>
                  </a:lnTo>
                  <a:lnTo>
                    <a:pt x="55" y="198"/>
                  </a:lnTo>
                  <a:lnTo>
                    <a:pt x="101" y="208"/>
                  </a:lnTo>
                  <a:lnTo>
                    <a:pt x="260" y="214"/>
                  </a:lnTo>
                  <a:lnTo>
                    <a:pt x="592" y="216"/>
                  </a:lnTo>
                  <a:lnTo>
                    <a:pt x="857" y="216"/>
                  </a:lnTo>
                  <a:lnTo>
                    <a:pt x="1320" y="216"/>
                  </a:lnTo>
                  <a:lnTo>
                    <a:pt x="1602" y="209"/>
                  </a:lnTo>
                  <a:lnTo>
                    <a:pt x="1655" y="200"/>
                  </a:lnTo>
                  <a:lnTo>
                    <a:pt x="1674" y="191"/>
                  </a:lnTo>
                  <a:lnTo>
                    <a:pt x="1680" y="186"/>
                  </a:lnTo>
                  <a:lnTo>
                    <a:pt x="1698" y="169"/>
                  </a:lnTo>
                  <a:lnTo>
                    <a:pt x="1720" y="135"/>
                  </a:lnTo>
                  <a:lnTo>
                    <a:pt x="1724" y="100"/>
                  </a:lnTo>
                  <a:lnTo>
                    <a:pt x="1712" y="63"/>
                  </a:lnTo>
                  <a:lnTo>
                    <a:pt x="1698" y="45"/>
                  </a:lnTo>
                  <a:lnTo>
                    <a:pt x="1665" y="0"/>
                  </a:lnTo>
                  <a:lnTo>
                    <a:pt x="865" y="0"/>
                  </a:lnTo>
                  <a:lnTo>
                    <a:pt x="597" y="0"/>
                  </a:lnTo>
                  <a:lnTo>
                    <a:pt x="262" y="2"/>
                  </a:lnTo>
                  <a:lnTo>
                    <a:pt x="101" y="8"/>
                  </a:lnTo>
                  <a:lnTo>
                    <a:pt x="55" y="18"/>
                  </a:lnTo>
                  <a:lnTo>
                    <a:pt x="39" y="27"/>
                  </a:lnTo>
                  <a:lnTo>
                    <a:pt x="33" y="3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sp>
        <p:nvSpPr>
          <p:cNvPr id="118" name="Rectangle 117"/>
          <p:cNvSpPr/>
          <p:nvPr/>
        </p:nvSpPr>
        <p:spPr>
          <a:xfrm>
            <a:off x="452494" y="361297"/>
            <a:ext cx="4267515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</a:t>
            </a:r>
            <a:r>
              <a:rPr kumimoji="0" lang="tr-TR" sz="24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MEL</a:t>
            </a:r>
            <a:r>
              <a:rPr kumimoji="0" lang="tr-TR" sz="2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Ö</a:t>
            </a:r>
            <a:r>
              <a:rPr kumimoji="0" lang="tr-TR" sz="24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ZELLİKLERİ</a:t>
            </a:r>
            <a:endParaRPr kumimoji="0" lang="tr-TR" sz="18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122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5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0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650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70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7500"/>
                            </p:stCondLst>
                            <p:childTnLst>
                              <p:par>
                                <p:cTn id="8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8000"/>
                            </p:stCondLst>
                            <p:childTnLst>
                              <p:par>
                                <p:cTn id="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8500"/>
                            </p:stCondLst>
                            <p:childTnLst>
                              <p:par>
                                <p:cTn id="8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000"/>
                            </p:stCondLst>
                            <p:childTnLst>
                              <p:par>
                                <p:cTn id="9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9500"/>
                            </p:stCondLst>
                            <p:childTnLst>
                              <p:par>
                                <p:cTn id="10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1500"/>
                            </p:stCondLst>
                            <p:childTnLst>
                              <p:par>
                                <p:cTn id="1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2000"/>
                            </p:stCondLst>
                            <p:childTnLst>
                              <p:par>
                                <p:cTn id="1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2500"/>
                            </p:stCondLst>
                            <p:childTnLst>
                              <p:par>
                                <p:cTn id="1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3000"/>
                            </p:stCondLst>
                            <p:childTnLst>
                              <p:par>
                                <p:cTn id="1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7" grpId="0" animBg="1"/>
      <p:bldP spid="4" grpId="0" animBg="1"/>
      <p:bldP spid="5" grpId="0" animBg="1"/>
      <p:bldP spid="6" grpId="0" animBg="1"/>
      <p:bldP spid="8" grpId="0"/>
      <p:bldP spid="9" grpId="0"/>
      <p:bldP spid="10" grpId="0"/>
      <p:bldP spid="11" grpId="0"/>
      <p:bldP spid="12" grpId="0"/>
      <p:bldP spid="14" grpId="0" animBg="1"/>
      <p:bldP spid="15" grpId="0" animBg="1"/>
      <p:bldP spid="16" grpId="0" animBg="1"/>
      <p:bldP spid="18" grpId="0"/>
      <p:bldP spid="19" grpId="0"/>
      <p:bldP spid="21" grpId="0"/>
      <p:bldP spid="22" grpId="0"/>
      <p:bldP spid="55" grpId="0" animBg="1"/>
      <p:bldP spid="56" grpId="0" animBg="1"/>
      <p:bldP spid="57" grpId="0" animBg="1"/>
      <p:bldP spid="58" grpId="0" animBg="1"/>
      <p:bldP spid="59" grpId="0"/>
      <p:bldP spid="60" grpId="0"/>
      <p:bldP spid="61" grpId="0"/>
      <p:bldP spid="6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/>
        </p:nvGrpSpPr>
        <p:grpSpPr>
          <a:xfrm>
            <a:off x="535156" y="661314"/>
            <a:ext cx="3914701" cy="1313709"/>
            <a:chOff x="62332" y="890754"/>
            <a:chExt cx="3914701" cy="1313709"/>
          </a:xfrm>
        </p:grpSpPr>
        <p:grpSp>
          <p:nvGrpSpPr>
            <p:cNvPr id="39" name="Group 38"/>
            <p:cNvGrpSpPr/>
            <p:nvPr/>
          </p:nvGrpSpPr>
          <p:grpSpPr>
            <a:xfrm>
              <a:off x="62332" y="902744"/>
              <a:ext cx="3914701" cy="1301719"/>
              <a:chOff x="62332" y="902744"/>
              <a:chExt cx="3914701" cy="1301719"/>
            </a:xfrm>
          </p:grpSpPr>
          <p:sp>
            <p:nvSpPr>
              <p:cNvPr id="35" name="Freeform 34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62332" y="902744"/>
                <a:ext cx="3914701" cy="49633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6" name="Flowchart: Connector 35"/>
            <p:cNvSpPr/>
            <p:nvPr/>
          </p:nvSpPr>
          <p:spPr>
            <a:xfrm>
              <a:off x="2984452" y="890754"/>
              <a:ext cx="471211" cy="471211"/>
            </a:xfrm>
            <a:prstGeom prst="flowChartConnector">
              <a:avLst/>
            </a:prstGeom>
            <a:solidFill>
              <a:srgbClr val="B51633"/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271296" y="950161"/>
              <a:ext cx="91336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FLAS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063091" y="941692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1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535157" y="1570583"/>
            <a:ext cx="3909604" cy="1374519"/>
            <a:chOff x="74623" y="1818249"/>
            <a:chExt cx="3909604" cy="1374519"/>
          </a:xfrm>
        </p:grpSpPr>
        <p:grpSp>
          <p:nvGrpSpPr>
            <p:cNvPr id="40" name="Group 39"/>
            <p:cNvGrpSpPr/>
            <p:nvPr/>
          </p:nvGrpSpPr>
          <p:grpSpPr>
            <a:xfrm>
              <a:off x="74623" y="1818249"/>
              <a:ext cx="3909604" cy="1374519"/>
              <a:chOff x="67430" y="829944"/>
              <a:chExt cx="3909604" cy="1374519"/>
            </a:xfrm>
          </p:grpSpPr>
          <p:sp>
            <p:nvSpPr>
              <p:cNvPr id="41" name="Freeform 40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67430" y="829944"/>
                <a:ext cx="3909604" cy="56913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43" name="TextBox 42"/>
            <p:cNvSpPr txBox="1"/>
            <p:nvPr/>
          </p:nvSpPr>
          <p:spPr>
            <a:xfrm>
              <a:off x="2024856" y="1926591"/>
              <a:ext cx="12055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TASFİYE</a:t>
              </a:r>
            </a:p>
          </p:txBody>
        </p:sp>
        <p:sp>
          <p:nvSpPr>
            <p:cNvPr id="44" name="Flowchart: Connector 43"/>
            <p:cNvSpPr/>
            <p:nvPr/>
          </p:nvSpPr>
          <p:spPr>
            <a:xfrm>
              <a:off x="2983042" y="1863669"/>
              <a:ext cx="471211" cy="471211"/>
            </a:xfrm>
            <a:prstGeom prst="flowChartConnector">
              <a:avLst/>
            </a:prstGeom>
            <a:solidFill>
              <a:srgbClr val="B51633"/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3068364" y="1925134"/>
              <a:ext cx="25422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2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35156" y="2592073"/>
            <a:ext cx="3922783" cy="1417195"/>
            <a:chOff x="61443" y="1775573"/>
            <a:chExt cx="3922783" cy="1417195"/>
          </a:xfrm>
        </p:grpSpPr>
        <p:grpSp>
          <p:nvGrpSpPr>
            <p:cNvPr id="53" name="Group 52"/>
            <p:cNvGrpSpPr/>
            <p:nvPr/>
          </p:nvGrpSpPr>
          <p:grpSpPr>
            <a:xfrm>
              <a:off x="61443" y="1775573"/>
              <a:ext cx="3922783" cy="1417195"/>
              <a:chOff x="54250" y="787268"/>
              <a:chExt cx="3922783" cy="1417195"/>
            </a:xfrm>
          </p:grpSpPr>
          <p:sp>
            <p:nvSpPr>
              <p:cNvPr id="57" name="Freeform 56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54250" y="787268"/>
                <a:ext cx="3922783" cy="61181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54" name="TextBox 53"/>
            <p:cNvSpPr txBox="1"/>
            <p:nvPr/>
          </p:nvSpPr>
          <p:spPr>
            <a:xfrm>
              <a:off x="1557547" y="1926591"/>
              <a:ext cx="16201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ACZE DÜŞME</a:t>
              </a:r>
            </a:p>
          </p:txBody>
        </p:sp>
        <p:sp>
          <p:nvSpPr>
            <p:cNvPr id="55" name="Flowchart: Connector 54"/>
            <p:cNvSpPr/>
            <p:nvPr/>
          </p:nvSpPr>
          <p:spPr>
            <a:xfrm>
              <a:off x="2983042" y="1863669"/>
              <a:ext cx="471211" cy="471211"/>
            </a:xfrm>
            <a:prstGeom prst="flowChartConnector">
              <a:avLst/>
            </a:prstGeom>
            <a:solidFill>
              <a:srgbClr val="B51633"/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3074202" y="1899662"/>
              <a:ext cx="20075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3</a:t>
              </a: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7447716" y="892939"/>
            <a:ext cx="3908849" cy="1350817"/>
            <a:chOff x="7732165" y="996170"/>
            <a:chExt cx="3908849" cy="1350817"/>
          </a:xfrm>
        </p:grpSpPr>
        <p:grpSp>
          <p:nvGrpSpPr>
            <p:cNvPr id="46" name="Group 45"/>
            <p:cNvGrpSpPr/>
            <p:nvPr/>
          </p:nvGrpSpPr>
          <p:grpSpPr>
            <a:xfrm>
              <a:off x="7732165" y="996170"/>
              <a:ext cx="3908849" cy="1350817"/>
              <a:chOff x="479854" y="853646"/>
              <a:chExt cx="3908849" cy="1350817"/>
            </a:xfrm>
          </p:grpSpPr>
          <p:sp>
            <p:nvSpPr>
              <p:cNvPr id="47" name="Freeform 46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479854" y="853646"/>
                <a:ext cx="3908849" cy="60963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59" name="Flowchart: Connector 58"/>
            <p:cNvSpPr/>
            <p:nvPr/>
          </p:nvSpPr>
          <p:spPr>
            <a:xfrm>
              <a:off x="8302960" y="1038811"/>
              <a:ext cx="471211" cy="471211"/>
            </a:xfrm>
            <a:prstGeom prst="flowChartConnector">
              <a:avLst/>
            </a:prstGeom>
            <a:solidFill>
              <a:srgbClr val="B51633"/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8395459" y="1084218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4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739533" y="1104690"/>
              <a:ext cx="177434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KONKORDATO</a:t>
              </a: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7447716" y="2176769"/>
            <a:ext cx="4067288" cy="1350817"/>
            <a:chOff x="479854" y="853646"/>
            <a:chExt cx="4067288" cy="1350817"/>
          </a:xfrm>
        </p:grpSpPr>
        <p:grpSp>
          <p:nvGrpSpPr>
            <p:cNvPr id="64" name="Group 63"/>
            <p:cNvGrpSpPr/>
            <p:nvPr/>
          </p:nvGrpSpPr>
          <p:grpSpPr>
            <a:xfrm>
              <a:off x="479854" y="853646"/>
              <a:ext cx="3908849" cy="1350817"/>
              <a:chOff x="479854" y="853646"/>
              <a:chExt cx="3908849" cy="1350817"/>
            </a:xfrm>
          </p:grpSpPr>
          <p:sp>
            <p:nvSpPr>
              <p:cNvPr id="68" name="Freeform 67"/>
              <p:cNvSpPr/>
              <p:nvPr/>
            </p:nvSpPr>
            <p:spPr>
              <a:xfrm>
                <a:off x="698454" y="1254591"/>
                <a:ext cx="3690249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479854" y="853646"/>
                <a:ext cx="3908849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65" name="Flowchart: Connector 64"/>
            <p:cNvSpPr/>
            <p:nvPr/>
          </p:nvSpPr>
          <p:spPr>
            <a:xfrm>
              <a:off x="1045459" y="890755"/>
              <a:ext cx="471211" cy="471211"/>
            </a:xfrm>
            <a:prstGeom prst="flowChartConnector">
              <a:avLst/>
            </a:prstGeom>
            <a:solidFill>
              <a:srgbClr val="B51633"/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1485489" y="941694"/>
              <a:ext cx="30616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BORÇLARIN ÖDENEMEMESİ</a:t>
              </a: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1133623" y="932168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5</a:t>
              </a: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273727" y="3926430"/>
            <a:ext cx="4845842" cy="1350817"/>
            <a:chOff x="-202262" y="1841951"/>
            <a:chExt cx="4845842" cy="1350817"/>
          </a:xfrm>
        </p:grpSpPr>
        <p:grpSp>
          <p:nvGrpSpPr>
            <p:cNvPr id="79" name="Group 78"/>
            <p:cNvGrpSpPr/>
            <p:nvPr/>
          </p:nvGrpSpPr>
          <p:grpSpPr>
            <a:xfrm>
              <a:off x="-202262" y="1841951"/>
              <a:ext cx="4186489" cy="1350817"/>
              <a:chOff x="-209455" y="853646"/>
              <a:chExt cx="4186489" cy="1350817"/>
            </a:xfrm>
          </p:grpSpPr>
          <p:sp>
            <p:nvSpPr>
              <p:cNvPr id="83" name="Freeform 82"/>
              <p:cNvSpPr/>
              <p:nvPr/>
            </p:nvSpPr>
            <p:spPr>
              <a:xfrm>
                <a:off x="-209455" y="1254591"/>
                <a:ext cx="361496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84" name="Rectangle 83"/>
              <p:cNvSpPr/>
              <p:nvPr/>
            </p:nvSpPr>
            <p:spPr>
              <a:xfrm>
                <a:off x="51974" y="853646"/>
                <a:ext cx="3925060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80" name="TextBox 79"/>
            <p:cNvSpPr txBox="1"/>
            <p:nvPr/>
          </p:nvSpPr>
          <p:spPr>
            <a:xfrm>
              <a:off x="76215" y="1929417"/>
              <a:ext cx="45673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TRANSFER YASAK-KISITLARI</a:t>
              </a:r>
            </a:p>
          </p:txBody>
        </p:sp>
        <p:sp>
          <p:nvSpPr>
            <p:cNvPr id="81" name="Flowchart: Connector 80"/>
            <p:cNvSpPr/>
            <p:nvPr/>
          </p:nvSpPr>
          <p:spPr>
            <a:xfrm>
              <a:off x="2983042" y="1863669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3075024" y="1924811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1</a:t>
              </a: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739790" y="4973395"/>
            <a:ext cx="4769566" cy="1350817"/>
            <a:chOff x="258367" y="1841951"/>
            <a:chExt cx="4769566" cy="1350817"/>
          </a:xfrm>
        </p:grpSpPr>
        <p:grpSp>
          <p:nvGrpSpPr>
            <p:cNvPr id="86" name="Group 85"/>
            <p:cNvGrpSpPr/>
            <p:nvPr/>
          </p:nvGrpSpPr>
          <p:grpSpPr>
            <a:xfrm>
              <a:off x="258367" y="1841951"/>
              <a:ext cx="3725860" cy="1350817"/>
              <a:chOff x="251174" y="853646"/>
              <a:chExt cx="3725860" cy="1350817"/>
            </a:xfrm>
          </p:grpSpPr>
          <p:sp>
            <p:nvSpPr>
              <p:cNvPr id="90" name="Freeform 89"/>
              <p:cNvSpPr/>
              <p:nvPr/>
            </p:nvSpPr>
            <p:spPr>
              <a:xfrm>
                <a:off x="251174" y="1254591"/>
                <a:ext cx="3154331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aramond" panose="020204040303010108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91" name="Rectangle 90"/>
              <p:cNvSpPr/>
              <p:nvPr/>
            </p:nvSpPr>
            <p:spPr>
              <a:xfrm>
                <a:off x="343190" y="853646"/>
                <a:ext cx="3633844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aramond" panose="02020404030301010803" pitchFamily="18" charset="0"/>
                  <a:ea typeface="+mn-ea"/>
                  <a:cs typeface="+mn-cs"/>
                </a:endParaRPr>
              </a:p>
            </p:txBody>
          </p:sp>
        </p:grpSp>
        <p:sp>
          <p:nvSpPr>
            <p:cNvPr id="87" name="TextBox 86"/>
            <p:cNvSpPr txBox="1"/>
            <p:nvPr/>
          </p:nvSpPr>
          <p:spPr>
            <a:xfrm>
              <a:off x="460568" y="1929236"/>
              <a:ext cx="45673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SAVAŞ / İHTİLAL / İSYAN</a:t>
              </a:r>
            </a:p>
          </p:txBody>
        </p:sp>
        <p:sp>
          <p:nvSpPr>
            <p:cNvPr id="88" name="Flowchart: Connector 87"/>
            <p:cNvSpPr/>
            <p:nvPr/>
          </p:nvSpPr>
          <p:spPr>
            <a:xfrm>
              <a:off x="2983042" y="1863669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067670" y="1914607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aramond" panose="02020404030301010803" pitchFamily="18" charset="0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589862" y="5953220"/>
            <a:ext cx="4614260" cy="1350817"/>
            <a:chOff x="97301" y="1841951"/>
            <a:chExt cx="4614260" cy="1350817"/>
          </a:xfrm>
        </p:grpSpPr>
        <p:grpSp>
          <p:nvGrpSpPr>
            <p:cNvPr id="93" name="Group 92"/>
            <p:cNvGrpSpPr/>
            <p:nvPr/>
          </p:nvGrpSpPr>
          <p:grpSpPr>
            <a:xfrm>
              <a:off x="97301" y="1841951"/>
              <a:ext cx="3886926" cy="1350817"/>
              <a:chOff x="90108" y="853646"/>
              <a:chExt cx="3886926" cy="1350817"/>
            </a:xfrm>
          </p:grpSpPr>
          <p:sp>
            <p:nvSpPr>
              <p:cNvPr id="97" name="Freeform 96"/>
              <p:cNvSpPr/>
              <p:nvPr/>
            </p:nvSpPr>
            <p:spPr>
              <a:xfrm>
                <a:off x="90108" y="1254591"/>
                <a:ext cx="3315397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200352" y="853646"/>
                <a:ext cx="3776682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94" name="TextBox 93"/>
            <p:cNvSpPr txBox="1"/>
            <p:nvPr/>
          </p:nvSpPr>
          <p:spPr>
            <a:xfrm>
              <a:off x="144196" y="1941282"/>
              <a:ext cx="45673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THAL YASAK VE KISITLARI</a:t>
              </a:r>
            </a:p>
          </p:txBody>
        </p:sp>
        <p:sp>
          <p:nvSpPr>
            <p:cNvPr id="95" name="Flowchart: Connector 94"/>
            <p:cNvSpPr/>
            <p:nvPr/>
          </p:nvSpPr>
          <p:spPr>
            <a:xfrm>
              <a:off x="2983042" y="1863669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3067670" y="1914607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3</a:t>
              </a: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8013321" y="3913838"/>
            <a:ext cx="5013290" cy="1350817"/>
            <a:chOff x="307118" y="1841951"/>
            <a:chExt cx="5013290" cy="1350817"/>
          </a:xfrm>
        </p:grpSpPr>
        <p:grpSp>
          <p:nvGrpSpPr>
            <p:cNvPr id="100" name="Group 99"/>
            <p:cNvGrpSpPr/>
            <p:nvPr/>
          </p:nvGrpSpPr>
          <p:grpSpPr>
            <a:xfrm>
              <a:off x="487047" y="1841951"/>
              <a:ext cx="3497179" cy="1350817"/>
              <a:chOff x="479854" y="853646"/>
              <a:chExt cx="3497179" cy="1350817"/>
            </a:xfrm>
          </p:grpSpPr>
          <p:sp>
            <p:nvSpPr>
              <p:cNvPr id="104" name="Freeform 103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479854" y="853646"/>
                <a:ext cx="3497179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01" name="TextBox 100"/>
            <p:cNvSpPr txBox="1"/>
            <p:nvPr/>
          </p:nvSpPr>
          <p:spPr>
            <a:xfrm>
              <a:off x="753043" y="1933204"/>
              <a:ext cx="45673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THAL İZİNLERİNİN İPTALİ</a:t>
              </a:r>
            </a:p>
          </p:txBody>
        </p:sp>
        <p:sp>
          <p:nvSpPr>
            <p:cNvPr id="102" name="Flowchart: Connector 101"/>
            <p:cNvSpPr/>
            <p:nvPr/>
          </p:nvSpPr>
          <p:spPr>
            <a:xfrm>
              <a:off x="307118" y="1897447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391746" y="1948385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4</a:t>
              </a: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8017924" y="4975938"/>
            <a:ext cx="5004823" cy="1350817"/>
            <a:chOff x="307118" y="1841951"/>
            <a:chExt cx="5004823" cy="1350817"/>
          </a:xfrm>
        </p:grpSpPr>
        <p:grpSp>
          <p:nvGrpSpPr>
            <p:cNvPr id="107" name="Group 106"/>
            <p:cNvGrpSpPr/>
            <p:nvPr/>
          </p:nvGrpSpPr>
          <p:grpSpPr>
            <a:xfrm>
              <a:off x="487047" y="1841951"/>
              <a:ext cx="3497179" cy="1350817"/>
              <a:chOff x="479854" y="853646"/>
              <a:chExt cx="3497179" cy="1350817"/>
            </a:xfrm>
          </p:grpSpPr>
          <p:sp>
            <p:nvSpPr>
              <p:cNvPr id="111" name="Freeform 110"/>
              <p:cNvSpPr/>
              <p:nvPr/>
            </p:nvSpPr>
            <p:spPr>
              <a:xfrm>
                <a:off x="698455" y="1254591"/>
                <a:ext cx="2707050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2" name="Rectangle 111"/>
              <p:cNvSpPr/>
              <p:nvPr/>
            </p:nvSpPr>
            <p:spPr>
              <a:xfrm>
                <a:off x="479854" y="853646"/>
                <a:ext cx="3497179" cy="54543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08" name="TextBox 107"/>
            <p:cNvSpPr txBox="1"/>
            <p:nvPr/>
          </p:nvSpPr>
          <p:spPr>
            <a:xfrm>
              <a:off x="744576" y="1933204"/>
              <a:ext cx="45673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MALLARA EL KONULMASI</a:t>
              </a:r>
            </a:p>
          </p:txBody>
        </p:sp>
        <p:sp>
          <p:nvSpPr>
            <p:cNvPr id="109" name="Flowchart: Connector 108"/>
            <p:cNvSpPr/>
            <p:nvPr/>
          </p:nvSpPr>
          <p:spPr>
            <a:xfrm>
              <a:off x="307118" y="1897447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391746" y="1948385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5</a:t>
              </a:r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8013321" y="5946117"/>
            <a:ext cx="4178678" cy="1350817"/>
            <a:chOff x="307118" y="1841951"/>
            <a:chExt cx="4178678" cy="1350817"/>
          </a:xfrm>
        </p:grpSpPr>
        <p:grpSp>
          <p:nvGrpSpPr>
            <p:cNvPr id="114" name="Group 113"/>
            <p:cNvGrpSpPr/>
            <p:nvPr/>
          </p:nvGrpSpPr>
          <p:grpSpPr>
            <a:xfrm>
              <a:off x="487047" y="1841951"/>
              <a:ext cx="3998749" cy="1350817"/>
              <a:chOff x="479854" y="853646"/>
              <a:chExt cx="3998749" cy="1350817"/>
            </a:xfrm>
          </p:grpSpPr>
          <p:sp>
            <p:nvSpPr>
              <p:cNvPr id="118" name="Freeform 117"/>
              <p:cNvSpPr/>
              <p:nvPr/>
            </p:nvSpPr>
            <p:spPr>
              <a:xfrm>
                <a:off x="698454" y="1254591"/>
                <a:ext cx="3780149" cy="949872"/>
              </a:xfrm>
              <a:custGeom>
                <a:avLst/>
                <a:gdLst>
                  <a:gd name="connsiteX0" fmla="*/ 0 w 3112170"/>
                  <a:gd name="connsiteY0" fmla="*/ 0 h 1556086"/>
                  <a:gd name="connsiteX1" fmla="*/ 3112170 w 3112170"/>
                  <a:gd name="connsiteY1" fmla="*/ 0 h 1556086"/>
                  <a:gd name="connsiteX2" fmla="*/ 3112170 w 3112170"/>
                  <a:gd name="connsiteY2" fmla="*/ 1 h 1556086"/>
                  <a:gd name="connsiteX3" fmla="*/ 1556085 w 3112170"/>
                  <a:gd name="connsiteY3" fmla="*/ 1556086 h 1556086"/>
                  <a:gd name="connsiteX4" fmla="*/ 0 w 3112170"/>
                  <a:gd name="connsiteY4" fmla="*/ 1 h 155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12170" h="1556086">
                    <a:moveTo>
                      <a:pt x="0" y="0"/>
                    </a:moveTo>
                    <a:lnTo>
                      <a:pt x="3112170" y="0"/>
                    </a:lnTo>
                    <a:lnTo>
                      <a:pt x="3112170" y="1"/>
                    </a:lnTo>
                    <a:cubicBezTo>
                      <a:pt x="3112170" y="859403"/>
                      <a:pt x="2415487" y="1556086"/>
                      <a:pt x="1556085" y="1556086"/>
                    </a:cubicBezTo>
                    <a:cubicBezTo>
                      <a:pt x="696683" y="1556086"/>
                      <a:pt x="0" y="859403"/>
                      <a:pt x="0" y="1"/>
                    </a:cubicBezTo>
                    <a:close/>
                  </a:path>
                </a:pathLst>
              </a:custGeom>
              <a:gradFill flip="none" rotWithShape="1">
                <a:gsLst>
                  <a:gs pos="84000">
                    <a:srgbClr val="F5F5F5">
                      <a:alpha val="0"/>
                    </a:srgbClr>
                  </a:gs>
                  <a:gs pos="0">
                    <a:schemeClr val="tx1">
                      <a:alpha val="62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softEdge rad="215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aramond" panose="02020404030301010803" pitchFamily="18" charset="0"/>
                  <a:ea typeface="+mn-ea"/>
                  <a:cs typeface="+mn-cs"/>
                </a:endParaRPr>
              </a:p>
            </p:txBody>
          </p:sp>
          <p:sp>
            <p:nvSpPr>
              <p:cNvPr id="119" name="Rectangle 118"/>
              <p:cNvSpPr/>
              <p:nvPr/>
            </p:nvSpPr>
            <p:spPr>
              <a:xfrm>
                <a:off x="479854" y="853646"/>
                <a:ext cx="3875045" cy="7077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aramond" panose="02020404030301010803" pitchFamily="18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15" name="TextBox 114"/>
            <p:cNvSpPr txBox="1"/>
            <p:nvPr/>
          </p:nvSpPr>
          <p:spPr>
            <a:xfrm>
              <a:off x="444265" y="1888724"/>
              <a:ext cx="33255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KAMU ALICISININ ÖDEME GÜÇLÜĞÜ</a:t>
              </a:r>
            </a:p>
          </p:txBody>
        </p:sp>
        <p:sp>
          <p:nvSpPr>
            <p:cNvPr id="116" name="Flowchart: Connector 115"/>
            <p:cNvSpPr/>
            <p:nvPr/>
          </p:nvSpPr>
          <p:spPr>
            <a:xfrm>
              <a:off x="307118" y="1897447"/>
              <a:ext cx="471211" cy="471211"/>
            </a:xfrm>
            <a:prstGeom prst="flowChartConnector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>
              <a:innerShdw blurRad="152400" dist="76200" dir="144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391746" y="1948385"/>
              <a:ext cx="3692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aramond" panose="02020404030301010803" pitchFamily="18" charset="0"/>
                  <a:ea typeface="+mn-ea"/>
                  <a:cs typeface="+mn-cs"/>
                </a:rPr>
                <a:t>6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626396" y="648384"/>
            <a:ext cx="2687800" cy="2642999"/>
            <a:chOff x="4626396" y="648384"/>
            <a:chExt cx="2687800" cy="2642999"/>
          </a:xfrm>
        </p:grpSpPr>
        <p:sp>
          <p:nvSpPr>
            <p:cNvPr id="4" name="Left Bracket 3"/>
            <p:cNvSpPr/>
            <p:nvPr/>
          </p:nvSpPr>
          <p:spPr>
            <a:xfrm>
              <a:off x="4626396" y="650835"/>
              <a:ext cx="252248" cy="2640548"/>
            </a:xfrm>
            <a:prstGeom prst="leftBracket">
              <a:avLst/>
            </a:prstGeom>
            <a:ln w="762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21" name="Left Bracket 120"/>
            <p:cNvSpPr/>
            <p:nvPr/>
          </p:nvSpPr>
          <p:spPr>
            <a:xfrm flipH="1">
              <a:off x="7061948" y="648384"/>
              <a:ext cx="252248" cy="2640548"/>
            </a:xfrm>
            <a:prstGeom prst="leftBracket">
              <a:avLst/>
            </a:prstGeom>
            <a:ln w="762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817664" y="1210187"/>
            <a:ext cx="2451782" cy="1030274"/>
            <a:chOff x="4817664" y="1210187"/>
            <a:chExt cx="2451782" cy="1030274"/>
          </a:xfrm>
        </p:grpSpPr>
        <p:sp>
          <p:nvSpPr>
            <p:cNvPr id="6" name="TextBox 5"/>
            <p:cNvSpPr txBox="1"/>
            <p:nvPr/>
          </p:nvSpPr>
          <p:spPr>
            <a:xfrm>
              <a:off x="4817664" y="1210187"/>
              <a:ext cx="148158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T</a:t>
              </a:r>
              <a:r>
                <a:rPr kumimoji="0" lang="tr-T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CARİ</a:t>
              </a: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5607783" y="1717241"/>
              <a:ext cx="166166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R</a:t>
              </a:r>
              <a:r>
                <a:rPr kumimoji="0" lang="tr-TR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SKLER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620992" y="3910540"/>
            <a:ext cx="2687116" cy="2640548"/>
            <a:chOff x="4620992" y="3910540"/>
            <a:chExt cx="2687116" cy="2640548"/>
          </a:xfrm>
        </p:grpSpPr>
        <p:sp>
          <p:nvSpPr>
            <p:cNvPr id="123" name="Left Bracket 122"/>
            <p:cNvSpPr/>
            <p:nvPr/>
          </p:nvSpPr>
          <p:spPr>
            <a:xfrm>
              <a:off x="4620992" y="3910540"/>
              <a:ext cx="252248" cy="2640548"/>
            </a:xfrm>
            <a:prstGeom prst="leftBracket">
              <a:avLst/>
            </a:prstGeom>
            <a:ln w="762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124" name="Left Bracket 123"/>
            <p:cNvSpPr/>
            <p:nvPr/>
          </p:nvSpPr>
          <p:spPr>
            <a:xfrm flipH="1">
              <a:off x="7055860" y="3910540"/>
              <a:ext cx="252248" cy="2640548"/>
            </a:xfrm>
            <a:prstGeom prst="leftBracket">
              <a:avLst/>
            </a:prstGeom>
            <a:ln w="762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12259" y="4469892"/>
            <a:ext cx="2451783" cy="1030274"/>
            <a:chOff x="4812259" y="4469892"/>
            <a:chExt cx="2451783" cy="1030274"/>
          </a:xfrm>
        </p:grpSpPr>
        <p:sp>
          <p:nvSpPr>
            <p:cNvPr id="125" name="TextBox 124"/>
            <p:cNvSpPr txBox="1"/>
            <p:nvPr/>
          </p:nvSpPr>
          <p:spPr>
            <a:xfrm>
              <a:off x="4812259" y="4469892"/>
              <a:ext cx="166663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P</a:t>
              </a:r>
              <a:r>
                <a:rPr kumimoji="0" lang="tr-TR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OLİTİK</a:t>
              </a: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5602379" y="4976946"/>
              <a:ext cx="166166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R</a:t>
              </a:r>
              <a:r>
                <a:rPr kumimoji="0" lang="tr-TR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SKL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574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 rot="5400000">
            <a:off x="1662709" y="548272"/>
            <a:ext cx="1848410" cy="3652595"/>
            <a:chOff x="1079500" y="1728458"/>
            <a:chExt cx="2209801" cy="4126242"/>
          </a:xfrm>
          <a:solidFill>
            <a:schemeClr val="bg1"/>
          </a:solidFill>
        </p:grpSpPr>
        <p:sp>
          <p:nvSpPr>
            <p:cNvPr id="5" name="Round Same Side Corner Rectangle 4"/>
            <p:cNvSpPr/>
            <p:nvPr/>
          </p:nvSpPr>
          <p:spPr>
            <a:xfrm>
              <a:off x="1079501" y="1728458"/>
              <a:ext cx="2209800" cy="1879933"/>
            </a:xfrm>
            <a:prstGeom prst="round2SameRect">
              <a:avLst/>
            </a:prstGeom>
            <a:gradFill>
              <a:gsLst>
                <a:gs pos="4500">
                  <a:srgbClr val="CC7E93"/>
                </a:gs>
                <a:gs pos="73000">
                  <a:srgbClr val="A60933"/>
                </a:gs>
                <a:gs pos="0">
                  <a:schemeClr val="bg1">
                    <a:lumMod val="95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" name="Freeform 5"/>
            <p:cNvSpPr/>
            <p:nvPr/>
          </p:nvSpPr>
          <p:spPr>
            <a:xfrm flipV="1">
              <a:off x="1079500" y="1879600"/>
              <a:ext cx="2209800" cy="3975100"/>
            </a:xfrm>
            <a:custGeom>
              <a:avLst/>
              <a:gdLst>
                <a:gd name="connsiteX0" fmla="*/ 0 w 2209800"/>
                <a:gd name="connsiteY0" fmla="*/ 3975100 h 3975100"/>
                <a:gd name="connsiteX1" fmla="*/ 565150 w 2209800"/>
                <a:gd name="connsiteY1" fmla="*/ 3975100 h 3975100"/>
                <a:gd name="connsiteX2" fmla="*/ 1104900 w 2209800"/>
                <a:gd name="connsiteY2" fmla="*/ 3435350 h 3975100"/>
                <a:gd name="connsiteX3" fmla="*/ 1644650 w 2209800"/>
                <a:gd name="connsiteY3" fmla="*/ 3975100 h 3975100"/>
                <a:gd name="connsiteX4" fmla="*/ 2209800 w 2209800"/>
                <a:gd name="connsiteY4" fmla="*/ 3975100 h 3975100"/>
                <a:gd name="connsiteX5" fmla="*/ 2209800 w 2209800"/>
                <a:gd name="connsiteY5" fmla="*/ 368307 h 3975100"/>
                <a:gd name="connsiteX6" fmla="*/ 1841493 w 2209800"/>
                <a:gd name="connsiteY6" fmla="*/ 0 h 3975100"/>
                <a:gd name="connsiteX7" fmla="*/ 368307 w 2209800"/>
                <a:gd name="connsiteY7" fmla="*/ 0 h 3975100"/>
                <a:gd name="connsiteX8" fmla="*/ 0 w 2209800"/>
                <a:gd name="connsiteY8" fmla="*/ 368307 h 397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09800" h="3975100">
                  <a:moveTo>
                    <a:pt x="0" y="3975100"/>
                  </a:moveTo>
                  <a:lnTo>
                    <a:pt x="565150" y="3975100"/>
                  </a:lnTo>
                  <a:cubicBezTo>
                    <a:pt x="565150" y="3677004"/>
                    <a:pt x="806804" y="3435350"/>
                    <a:pt x="1104900" y="3435350"/>
                  </a:cubicBezTo>
                  <a:cubicBezTo>
                    <a:pt x="1402996" y="3435350"/>
                    <a:pt x="1644650" y="3677004"/>
                    <a:pt x="1644650" y="3975100"/>
                  </a:cubicBezTo>
                  <a:lnTo>
                    <a:pt x="2209800" y="3975100"/>
                  </a:lnTo>
                  <a:lnTo>
                    <a:pt x="2209800" y="368307"/>
                  </a:lnTo>
                  <a:cubicBezTo>
                    <a:pt x="2209800" y="164897"/>
                    <a:pt x="2044903" y="0"/>
                    <a:pt x="1841493" y="0"/>
                  </a:cubicBezTo>
                  <a:lnTo>
                    <a:pt x="368307" y="0"/>
                  </a:lnTo>
                  <a:cubicBezTo>
                    <a:pt x="164897" y="0"/>
                    <a:pt x="0" y="164897"/>
                    <a:pt x="0" y="368307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27000" sx="107000" sy="107000" algn="ctr" rotWithShape="0">
                <a:schemeClr val="tx1"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sp>
        <p:nvSpPr>
          <p:cNvPr id="16" name="Round Diagonal Corner Rectangle 15"/>
          <p:cNvSpPr/>
          <p:nvPr/>
        </p:nvSpPr>
        <p:spPr>
          <a:xfrm>
            <a:off x="4431629" y="1640606"/>
            <a:ext cx="4908884" cy="585668"/>
          </a:xfrm>
          <a:prstGeom prst="round2DiagRect">
            <a:avLst/>
          </a:prstGeom>
          <a:gradFill>
            <a:gsLst>
              <a:gs pos="0">
                <a:srgbClr val="CC7E93"/>
              </a:gs>
              <a:gs pos="12000">
                <a:srgbClr val="A60933"/>
              </a:gs>
              <a:gs pos="0">
                <a:schemeClr val="bg1">
                  <a:lumMod val="9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749343" y="1737567"/>
            <a:ext cx="36964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İHRACAT ALACAK SİGORTASI</a:t>
            </a:r>
          </a:p>
        </p:txBody>
      </p:sp>
      <p:sp>
        <p:nvSpPr>
          <p:cNvPr id="41" name="Round Diagonal Corner Rectangle 40"/>
          <p:cNvSpPr/>
          <p:nvPr/>
        </p:nvSpPr>
        <p:spPr>
          <a:xfrm>
            <a:off x="4431629" y="2487438"/>
            <a:ext cx="4908884" cy="585668"/>
          </a:xfrm>
          <a:prstGeom prst="round2DiagRect">
            <a:avLst/>
          </a:prstGeom>
          <a:gradFill>
            <a:gsLst>
              <a:gs pos="0">
                <a:srgbClr val="CC7E93"/>
              </a:gs>
              <a:gs pos="12000">
                <a:srgbClr val="A60933"/>
              </a:gs>
              <a:gs pos="0">
                <a:schemeClr val="bg1">
                  <a:lumMod val="9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aramond" panose="02020404030301010803" pitchFamily="18" charset="0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799586" y="2573192"/>
            <a:ext cx="3595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YURT İÇİ ALACAK SİGORTASI</a:t>
            </a:r>
          </a:p>
        </p:txBody>
      </p:sp>
      <p:grpSp>
        <p:nvGrpSpPr>
          <p:cNvPr id="47" name="Group 46"/>
          <p:cNvGrpSpPr/>
          <p:nvPr/>
        </p:nvGrpSpPr>
        <p:grpSpPr>
          <a:xfrm rot="5400000">
            <a:off x="1595641" y="2665033"/>
            <a:ext cx="2019382" cy="3652594"/>
            <a:chOff x="1079500" y="1728458"/>
            <a:chExt cx="2209801" cy="4126242"/>
          </a:xfrm>
        </p:grpSpPr>
        <p:sp>
          <p:nvSpPr>
            <p:cNvPr id="48" name="Round Same Side Corner Rectangle 47"/>
            <p:cNvSpPr/>
            <p:nvPr/>
          </p:nvSpPr>
          <p:spPr>
            <a:xfrm>
              <a:off x="1079501" y="1728458"/>
              <a:ext cx="2209800" cy="1879933"/>
            </a:xfrm>
            <a:prstGeom prst="round2Same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49" name="Freeform 48"/>
            <p:cNvSpPr/>
            <p:nvPr/>
          </p:nvSpPr>
          <p:spPr>
            <a:xfrm flipV="1">
              <a:off x="1079500" y="1879600"/>
              <a:ext cx="2209800" cy="3975100"/>
            </a:xfrm>
            <a:custGeom>
              <a:avLst/>
              <a:gdLst>
                <a:gd name="connsiteX0" fmla="*/ 0 w 2209800"/>
                <a:gd name="connsiteY0" fmla="*/ 3975100 h 3975100"/>
                <a:gd name="connsiteX1" fmla="*/ 565150 w 2209800"/>
                <a:gd name="connsiteY1" fmla="*/ 3975100 h 3975100"/>
                <a:gd name="connsiteX2" fmla="*/ 1104900 w 2209800"/>
                <a:gd name="connsiteY2" fmla="*/ 3435350 h 3975100"/>
                <a:gd name="connsiteX3" fmla="*/ 1644650 w 2209800"/>
                <a:gd name="connsiteY3" fmla="*/ 3975100 h 3975100"/>
                <a:gd name="connsiteX4" fmla="*/ 2209800 w 2209800"/>
                <a:gd name="connsiteY4" fmla="*/ 3975100 h 3975100"/>
                <a:gd name="connsiteX5" fmla="*/ 2209800 w 2209800"/>
                <a:gd name="connsiteY5" fmla="*/ 368307 h 3975100"/>
                <a:gd name="connsiteX6" fmla="*/ 1841493 w 2209800"/>
                <a:gd name="connsiteY6" fmla="*/ 0 h 3975100"/>
                <a:gd name="connsiteX7" fmla="*/ 368307 w 2209800"/>
                <a:gd name="connsiteY7" fmla="*/ 0 h 3975100"/>
                <a:gd name="connsiteX8" fmla="*/ 0 w 2209800"/>
                <a:gd name="connsiteY8" fmla="*/ 368307 h 3975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09800" h="3975100">
                  <a:moveTo>
                    <a:pt x="0" y="3975100"/>
                  </a:moveTo>
                  <a:lnTo>
                    <a:pt x="565150" y="3975100"/>
                  </a:lnTo>
                  <a:cubicBezTo>
                    <a:pt x="565150" y="3677004"/>
                    <a:pt x="806804" y="3435350"/>
                    <a:pt x="1104900" y="3435350"/>
                  </a:cubicBezTo>
                  <a:cubicBezTo>
                    <a:pt x="1402996" y="3435350"/>
                    <a:pt x="1644650" y="3677004"/>
                    <a:pt x="1644650" y="3975100"/>
                  </a:cubicBezTo>
                  <a:lnTo>
                    <a:pt x="2209800" y="3975100"/>
                  </a:lnTo>
                  <a:lnTo>
                    <a:pt x="2209800" y="368307"/>
                  </a:lnTo>
                  <a:cubicBezTo>
                    <a:pt x="2209800" y="164897"/>
                    <a:pt x="2044903" y="0"/>
                    <a:pt x="1841493" y="0"/>
                  </a:cubicBezTo>
                  <a:lnTo>
                    <a:pt x="368307" y="0"/>
                  </a:lnTo>
                  <a:cubicBezTo>
                    <a:pt x="164897" y="0"/>
                    <a:pt x="0" y="164897"/>
                    <a:pt x="0" y="36830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sx="107000" sy="107000" algn="ctr" rotWithShape="0">
                <a:schemeClr val="tx1">
                  <a:alpha val="23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</p:grpSp>
      <p:sp>
        <p:nvSpPr>
          <p:cNvPr id="53" name="Round Diagonal Corner Rectangle 52"/>
          <p:cNvSpPr/>
          <p:nvPr/>
        </p:nvSpPr>
        <p:spPr>
          <a:xfrm>
            <a:off x="4469873" y="4139660"/>
            <a:ext cx="4908884" cy="585668"/>
          </a:xfrm>
          <a:prstGeom prst="round2DiagRect">
            <a:avLst/>
          </a:prstGeom>
          <a:gradFill flip="none" rotWithShape="1">
            <a:gsLst>
              <a:gs pos="100000">
                <a:schemeClr val="tx1">
                  <a:lumMod val="65000"/>
                  <a:lumOff val="35000"/>
                </a:schemeClr>
              </a:gs>
              <a:gs pos="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826569" y="4247828"/>
            <a:ext cx="44274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rPr>
              <a:t>SPESİFİK İHRACAT KREDİ SİGORTASI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52494" y="361297"/>
            <a:ext cx="4847802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</a:t>
            </a:r>
            <a:r>
              <a:rPr kumimoji="0" lang="tr-TR" sz="24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GORTA</a:t>
            </a:r>
            <a:r>
              <a:rPr kumimoji="0" lang="tr-TR" sz="2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P</a:t>
            </a:r>
            <a:r>
              <a:rPr kumimoji="0" lang="tr-TR" sz="24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ROGRAMLARI</a:t>
            </a:r>
            <a:endParaRPr kumimoji="0" lang="tr-TR" sz="16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70060" y="4216218"/>
            <a:ext cx="25741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ORTA-UZUN VADELİ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İGORTA PROGRAMI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70060" y="2051403"/>
            <a:ext cx="31324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ISA VADELİ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İGORTA PROGRAMLARI</a:t>
            </a:r>
          </a:p>
        </p:txBody>
      </p:sp>
      <p:sp>
        <p:nvSpPr>
          <p:cNvPr id="2" name="Oval 1"/>
          <p:cNvSpPr/>
          <p:nvPr/>
        </p:nvSpPr>
        <p:spPr>
          <a:xfrm>
            <a:off x="6420086" y="5043382"/>
            <a:ext cx="5065181" cy="1497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r">
              <a:defRPr/>
            </a:pPr>
            <a:r>
              <a:rPr lang="tr-TR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.000</a:t>
            </a:r>
            <a:r>
              <a:rPr lang="tr-TR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’den fazla alıcı firmaya </a:t>
            </a:r>
            <a:r>
              <a:rPr lang="tr-TR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 Milyar </a:t>
            </a:r>
            <a:r>
              <a:rPr lang="tr-TR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D</a:t>
            </a:r>
            <a:r>
              <a:rPr lang="tr-TR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’nin</a:t>
            </a:r>
            <a:r>
              <a:rPr lang="tr-TR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üzerinde limit</a:t>
            </a:r>
          </a:p>
        </p:txBody>
      </p:sp>
    </p:spTree>
    <p:extLst>
      <p:ext uri="{BB962C8B-B14F-4D97-AF65-F5344CB8AC3E}">
        <p14:creationId xmlns:p14="http://schemas.microsoft.com/office/powerpoint/2010/main" val="2839049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41" grpId="0" animBg="1"/>
      <p:bldP spid="5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>
          <a:xfrm>
            <a:off x="8724600" y="2235201"/>
            <a:ext cx="2738070" cy="1320800"/>
          </a:xfrm>
          <a:custGeom>
            <a:avLst/>
            <a:gdLst>
              <a:gd name="connsiteX0" fmla="*/ 1369035 w 2738070"/>
              <a:gd name="connsiteY0" fmla="*/ 0 h 1320800"/>
              <a:gd name="connsiteX1" fmla="*/ 2733554 w 2738070"/>
              <a:gd name="connsiteY1" fmla="*/ 1231362 h 1320800"/>
              <a:gd name="connsiteX2" fmla="*/ 2738070 w 2738070"/>
              <a:gd name="connsiteY2" fmla="*/ 1320800 h 1320800"/>
              <a:gd name="connsiteX3" fmla="*/ 0 w 2738070"/>
              <a:gd name="connsiteY3" fmla="*/ 1320800 h 1320800"/>
              <a:gd name="connsiteX4" fmla="*/ 4517 w 2738070"/>
              <a:gd name="connsiteY4" fmla="*/ 1231362 h 1320800"/>
              <a:gd name="connsiteX5" fmla="*/ 1369035 w 2738070"/>
              <a:gd name="connsiteY5" fmla="*/ 0 h 132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8070" h="1320800">
                <a:moveTo>
                  <a:pt x="1369035" y="0"/>
                </a:moveTo>
                <a:cubicBezTo>
                  <a:pt x="2079204" y="0"/>
                  <a:pt x="2663314" y="539724"/>
                  <a:pt x="2733554" y="1231362"/>
                </a:cubicBezTo>
                <a:lnTo>
                  <a:pt x="2738070" y="1320800"/>
                </a:lnTo>
                <a:lnTo>
                  <a:pt x="0" y="1320800"/>
                </a:lnTo>
                <a:lnTo>
                  <a:pt x="4517" y="1231362"/>
                </a:lnTo>
                <a:cubicBezTo>
                  <a:pt x="74756" y="539724"/>
                  <a:pt x="658866" y="0"/>
                  <a:pt x="1369035" y="0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30" name="Round Same Side Corner Rectangle 29"/>
          <p:cNvSpPr/>
          <p:nvPr/>
        </p:nvSpPr>
        <p:spPr>
          <a:xfrm>
            <a:off x="8278419" y="3556001"/>
            <a:ext cx="3608781" cy="3301999"/>
          </a:xfrm>
          <a:prstGeom prst="round2Same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Freeform 4"/>
          <p:cNvSpPr/>
          <p:nvPr/>
        </p:nvSpPr>
        <p:spPr>
          <a:xfrm flipV="1">
            <a:off x="4976810" y="3544174"/>
            <a:ext cx="2738070" cy="1320800"/>
          </a:xfrm>
          <a:custGeom>
            <a:avLst/>
            <a:gdLst>
              <a:gd name="connsiteX0" fmla="*/ 1369035 w 2738070"/>
              <a:gd name="connsiteY0" fmla="*/ 0 h 1320800"/>
              <a:gd name="connsiteX1" fmla="*/ 2733554 w 2738070"/>
              <a:gd name="connsiteY1" fmla="*/ 1231362 h 1320800"/>
              <a:gd name="connsiteX2" fmla="*/ 2738070 w 2738070"/>
              <a:gd name="connsiteY2" fmla="*/ 1320800 h 1320800"/>
              <a:gd name="connsiteX3" fmla="*/ 0 w 2738070"/>
              <a:gd name="connsiteY3" fmla="*/ 1320800 h 1320800"/>
              <a:gd name="connsiteX4" fmla="*/ 4517 w 2738070"/>
              <a:gd name="connsiteY4" fmla="*/ 1231362 h 1320800"/>
              <a:gd name="connsiteX5" fmla="*/ 1369035 w 2738070"/>
              <a:gd name="connsiteY5" fmla="*/ 0 h 132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8070" h="1320800">
                <a:moveTo>
                  <a:pt x="1369035" y="0"/>
                </a:moveTo>
                <a:cubicBezTo>
                  <a:pt x="2079204" y="0"/>
                  <a:pt x="2663314" y="539724"/>
                  <a:pt x="2733554" y="1231362"/>
                </a:cubicBezTo>
                <a:lnTo>
                  <a:pt x="2738070" y="1320800"/>
                </a:lnTo>
                <a:lnTo>
                  <a:pt x="0" y="1320800"/>
                </a:lnTo>
                <a:lnTo>
                  <a:pt x="4517" y="1231362"/>
                </a:lnTo>
                <a:cubicBezTo>
                  <a:pt x="74756" y="539724"/>
                  <a:pt x="658866" y="0"/>
                  <a:pt x="1369035" y="0"/>
                </a:cubicBezTo>
                <a:close/>
              </a:path>
            </a:pathLst>
          </a:custGeom>
          <a:solidFill>
            <a:srgbClr val="B51633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9" name="Round Same Side Corner Rectangle 28"/>
          <p:cNvSpPr/>
          <p:nvPr/>
        </p:nvSpPr>
        <p:spPr>
          <a:xfrm rot="10800000">
            <a:off x="4424774" y="0"/>
            <a:ext cx="3853543" cy="3556001"/>
          </a:xfrm>
          <a:prstGeom prst="round2SameRect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" name="Freeform 3"/>
          <p:cNvSpPr/>
          <p:nvPr/>
        </p:nvSpPr>
        <p:spPr>
          <a:xfrm>
            <a:off x="1022193" y="2235201"/>
            <a:ext cx="2738070" cy="1320800"/>
          </a:xfrm>
          <a:custGeom>
            <a:avLst/>
            <a:gdLst>
              <a:gd name="connsiteX0" fmla="*/ 1369035 w 2738070"/>
              <a:gd name="connsiteY0" fmla="*/ 0 h 1320800"/>
              <a:gd name="connsiteX1" fmla="*/ 2733554 w 2738070"/>
              <a:gd name="connsiteY1" fmla="*/ 1231362 h 1320800"/>
              <a:gd name="connsiteX2" fmla="*/ 2738070 w 2738070"/>
              <a:gd name="connsiteY2" fmla="*/ 1320800 h 1320800"/>
              <a:gd name="connsiteX3" fmla="*/ 0 w 2738070"/>
              <a:gd name="connsiteY3" fmla="*/ 1320800 h 1320800"/>
              <a:gd name="connsiteX4" fmla="*/ 4517 w 2738070"/>
              <a:gd name="connsiteY4" fmla="*/ 1231362 h 1320800"/>
              <a:gd name="connsiteX5" fmla="*/ 1369035 w 2738070"/>
              <a:gd name="connsiteY5" fmla="*/ 0 h 132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38070" h="1320800">
                <a:moveTo>
                  <a:pt x="1369035" y="0"/>
                </a:moveTo>
                <a:cubicBezTo>
                  <a:pt x="2079204" y="0"/>
                  <a:pt x="2663314" y="539724"/>
                  <a:pt x="2733554" y="1231362"/>
                </a:cubicBezTo>
                <a:lnTo>
                  <a:pt x="2738070" y="1320800"/>
                </a:lnTo>
                <a:lnTo>
                  <a:pt x="0" y="1320800"/>
                </a:lnTo>
                <a:lnTo>
                  <a:pt x="4517" y="1231362"/>
                </a:lnTo>
                <a:cubicBezTo>
                  <a:pt x="74756" y="539724"/>
                  <a:pt x="658866" y="0"/>
                  <a:pt x="1369035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28" name="Round Same Side Corner Rectangle 27"/>
          <p:cNvSpPr/>
          <p:nvPr/>
        </p:nvSpPr>
        <p:spPr>
          <a:xfrm>
            <a:off x="134097" y="3578765"/>
            <a:ext cx="4576013" cy="3301999"/>
          </a:xfrm>
          <a:prstGeom prst="round2Same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52210" y="2735874"/>
            <a:ext cx="16780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APSAM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717238" y="3852556"/>
            <a:ext cx="1257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AD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794457" y="2735874"/>
            <a:ext cx="25983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AZMİNA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939725" y="4040516"/>
            <a:ext cx="1272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38 ÜLK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977891" y="4923393"/>
            <a:ext cx="1272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38 ÜLK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967456" y="5726385"/>
            <a:ext cx="13780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YURT İÇİ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ATIŞLA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5887" y="3932133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ISA VADELİ İHRACAT SİGORTASI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65887" y="4835940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ORTA-UZUN VADELİ İHRACAT SİGORTASI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5887" y="5739747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YURT İÇİ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HRACAT SİGORTASI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524687" y="493716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ISA VADELİ İHRACAT SİGORTASI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524687" y="1397523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ORTA-UZUN VADELİ İHRACAT SİGORTASI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524687" y="2301330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YURT İÇİ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HRACAT SİGORTASI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789600" y="493716"/>
            <a:ext cx="1088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60 GÜ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789600" y="1453753"/>
            <a:ext cx="10028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+ 1 YI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09390" y="2413792"/>
            <a:ext cx="10885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60 GÜ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545119" y="4042597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ISA VADELİ İHRACAT SİGORTASI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545119" y="4946404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ORTA-UZUN VADELİ İHRACAT SİGORTASI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545119" y="5850211"/>
            <a:ext cx="2090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YURT İÇİ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İHRACAT SİGORTASI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875868" y="4121337"/>
            <a:ext cx="704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% 90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875866" y="5081375"/>
            <a:ext cx="7040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% 90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0895657" y="6041413"/>
            <a:ext cx="7482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% 90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52494" y="361297"/>
            <a:ext cx="3730508" cy="954107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</a:t>
            </a:r>
            <a:r>
              <a:rPr kumimoji="0" lang="tr-TR" sz="24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ROGRAM</a:t>
            </a:r>
            <a:endParaRPr kumimoji="0" lang="tr-TR" sz="20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</a:t>
            </a:r>
            <a:r>
              <a:rPr kumimoji="0" lang="tr-TR" sz="24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RŞILAŞTIRMASI</a:t>
            </a:r>
            <a:endParaRPr kumimoji="0" lang="tr-TR" sz="2000" b="1" i="0" u="none" strike="noStrike" kern="1200" cap="none" spc="300" normalizeH="0" baseline="0" noProof="0" dirty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9566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25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7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25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75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250"/>
                            </p:stCondLst>
                            <p:childTnLst>
                              <p:par>
                                <p:cTn id="38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75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25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75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25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75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725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75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8250"/>
                            </p:stCondLst>
                            <p:childTnLst>
                              <p:par>
                                <p:cTn id="7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75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9500"/>
                            </p:stCondLst>
                            <p:childTnLst>
                              <p:par>
                                <p:cTn id="8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0000"/>
                            </p:stCondLst>
                            <p:childTnLst>
                              <p:par>
                                <p:cTn id="8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500"/>
                            </p:stCondLst>
                            <p:childTnLst>
                              <p:par>
                                <p:cTn id="8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10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1500"/>
                            </p:stCondLst>
                            <p:childTnLst>
                              <p:par>
                                <p:cTn id="9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animBg="1"/>
      <p:bldP spid="4" grpId="0" animBg="1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3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3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185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25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9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7" name="Parallelogram 366"/>
          <p:cNvSpPr/>
          <p:nvPr/>
        </p:nvSpPr>
        <p:spPr>
          <a:xfrm>
            <a:off x="5496735" y="3676153"/>
            <a:ext cx="2914695" cy="620110"/>
          </a:xfrm>
          <a:prstGeom prst="parallelogram">
            <a:avLst/>
          </a:prstGeom>
          <a:solidFill>
            <a:srgbClr val="A60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8" name="Parallelogram 367"/>
          <p:cNvSpPr/>
          <p:nvPr/>
        </p:nvSpPr>
        <p:spPr>
          <a:xfrm>
            <a:off x="3925614" y="3676153"/>
            <a:ext cx="1912883" cy="620110"/>
          </a:xfrm>
          <a:prstGeom prst="parallelogram">
            <a:avLst/>
          </a:prstGeom>
          <a:solidFill>
            <a:srgbClr val="A60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9" name="Rectangle 368"/>
          <p:cNvSpPr/>
          <p:nvPr/>
        </p:nvSpPr>
        <p:spPr>
          <a:xfrm flipV="1">
            <a:off x="4490720" y="2586474"/>
            <a:ext cx="35052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0" name="Rectangle 369"/>
          <p:cNvSpPr/>
          <p:nvPr/>
        </p:nvSpPr>
        <p:spPr>
          <a:xfrm flipV="1">
            <a:off x="4444294" y="2586470"/>
            <a:ext cx="4306005" cy="45719"/>
          </a:xfrm>
          <a:prstGeom prst="rect">
            <a:avLst/>
          </a:prstGeom>
          <a:solidFill>
            <a:srgbClr val="B51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1" name="TextBox 370"/>
          <p:cNvSpPr txBox="1"/>
          <p:nvPr/>
        </p:nvSpPr>
        <p:spPr>
          <a:xfrm>
            <a:off x="2013066" y="2729022"/>
            <a:ext cx="84706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800" b="1" i="0" u="none" strike="noStrike" kern="1200" cap="none" spc="10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ULUSLARARASI</a:t>
            </a:r>
          </a:p>
        </p:txBody>
      </p:sp>
      <p:sp>
        <p:nvSpPr>
          <p:cNvPr id="372" name="TextBox 371"/>
          <p:cNvSpPr txBox="1"/>
          <p:nvPr/>
        </p:nvSpPr>
        <p:spPr>
          <a:xfrm>
            <a:off x="4313446" y="3525925"/>
            <a:ext cx="38699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800" b="0" i="0" u="none" strike="noStrike" kern="1200" cap="none" spc="-4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REDİLER</a:t>
            </a:r>
          </a:p>
        </p:txBody>
      </p:sp>
    </p:spTree>
    <p:extLst>
      <p:ext uri="{BB962C8B-B14F-4D97-AF65-F5344CB8AC3E}">
        <p14:creationId xmlns:p14="http://schemas.microsoft.com/office/powerpoint/2010/main" val="2950772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0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0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mp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22" dur="1000" fill="hold"/>
                                        <p:tgtEl>
                                          <p:spTgt spid="371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7" grpId="0" animBg="1"/>
      <p:bldP spid="369" grpId="0" animBg="1"/>
      <p:bldP spid="370" grpId="0" animBg="1"/>
      <p:bldP spid="371" grpId="0"/>
      <p:bldP spid="371" grpId="1"/>
      <p:bldP spid="37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827752" y="856909"/>
            <a:ext cx="3008742" cy="4481989"/>
            <a:chOff x="2198945" y="-89394"/>
            <a:chExt cx="2371376" cy="4989508"/>
          </a:xfrm>
        </p:grpSpPr>
        <p:grpSp>
          <p:nvGrpSpPr>
            <p:cNvPr id="3" name="Group 2"/>
            <p:cNvGrpSpPr/>
            <p:nvPr/>
          </p:nvGrpSpPr>
          <p:grpSpPr>
            <a:xfrm>
              <a:off x="2277476" y="-89394"/>
              <a:ext cx="2209805" cy="4989508"/>
              <a:chOff x="341737" y="865192"/>
              <a:chExt cx="2209805" cy="4989508"/>
            </a:xfrm>
          </p:grpSpPr>
          <p:sp>
            <p:nvSpPr>
              <p:cNvPr id="5" name="Round Same Side Corner Rectangle 4"/>
              <p:cNvSpPr/>
              <p:nvPr/>
            </p:nvSpPr>
            <p:spPr>
              <a:xfrm>
                <a:off x="341742" y="865192"/>
                <a:ext cx="2209800" cy="2743200"/>
              </a:xfrm>
              <a:prstGeom prst="round2SameRect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" name="Freeform 5"/>
              <p:cNvSpPr/>
              <p:nvPr/>
            </p:nvSpPr>
            <p:spPr>
              <a:xfrm flipV="1">
                <a:off x="341737" y="1879599"/>
                <a:ext cx="2209797" cy="3975101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27000" sx="107000" sy="107000" algn="ctr" rotWithShape="0">
                  <a:schemeClr val="tx1">
                    <a:alpha val="2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4" name="TextBox 3"/>
            <p:cNvSpPr txBox="1"/>
            <p:nvPr/>
          </p:nvSpPr>
          <p:spPr>
            <a:xfrm>
              <a:off x="2198945" y="57467"/>
              <a:ext cx="2371376" cy="719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YURT İÇİ BANKALAR </a:t>
              </a:r>
              <a:b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LICI KREDİLERİ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858136" y="874712"/>
            <a:ext cx="3209002" cy="4485546"/>
            <a:chOff x="626488" y="710907"/>
            <a:chExt cx="2604644" cy="4989508"/>
          </a:xfrm>
        </p:grpSpPr>
        <p:grpSp>
          <p:nvGrpSpPr>
            <p:cNvPr id="8" name="Group 7"/>
            <p:cNvGrpSpPr/>
            <p:nvPr/>
          </p:nvGrpSpPr>
          <p:grpSpPr>
            <a:xfrm>
              <a:off x="825499" y="710907"/>
              <a:ext cx="2209800" cy="4989508"/>
              <a:chOff x="1079500" y="865192"/>
              <a:chExt cx="2209800" cy="4989508"/>
            </a:xfrm>
          </p:grpSpPr>
          <p:sp>
            <p:nvSpPr>
              <p:cNvPr id="10" name="Round Same Side Corner Rectangle 9"/>
              <p:cNvSpPr/>
              <p:nvPr/>
            </p:nvSpPr>
            <p:spPr>
              <a:xfrm>
                <a:off x="1079500" y="865192"/>
                <a:ext cx="2209800" cy="2743200"/>
              </a:xfrm>
              <a:prstGeom prst="round2SameRect">
                <a:avLst/>
              </a:prstGeom>
              <a:solidFill>
                <a:srgbClr val="A6A6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>
              <a:xfrm flipV="1">
                <a:off x="1079500" y="1879600"/>
                <a:ext cx="2209800" cy="3975100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27000" sx="107000" sy="107000" algn="ctr" rotWithShape="0">
                  <a:schemeClr val="tx1">
                    <a:alpha val="2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626488" y="867389"/>
              <a:ext cx="2604644" cy="7189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YURT DIŞI BANKALAR </a:t>
              </a:r>
              <a:b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ALICI KREDİLERİ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30106" y="853290"/>
            <a:ext cx="2880702" cy="4453093"/>
            <a:chOff x="762998" y="1834061"/>
            <a:chExt cx="2411001" cy="4989508"/>
          </a:xfrm>
        </p:grpSpPr>
        <p:grpSp>
          <p:nvGrpSpPr>
            <p:cNvPr id="13" name="Group 12"/>
            <p:cNvGrpSpPr/>
            <p:nvPr/>
          </p:nvGrpSpPr>
          <p:grpSpPr>
            <a:xfrm>
              <a:off x="863600" y="1834061"/>
              <a:ext cx="2209800" cy="4989508"/>
              <a:chOff x="1079500" y="865192"/>
              <a:chExt cx="2209800" cy="4989508"/>
            </a:xfrm>
          </p:grpSpPr>
          <p:sp>
            <p:nvSpPr>
              <p:cNvPr id="15" name="Round Same Side Corner Rectangle 14"/>
              <p:cNvSpPr/>
              <p:nvPr/>
            </p:nvSpPr>
            <p:spPr>
              <a:xfrm>
                <a:off x="1079500" y="865192"/>
                <a:ext cx="2209800" cy="2743200"/>
              </a:xfrm>
              <a:prstGeom prst="round2SameRect">
                <a:avLst/>
              </a:pr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" name="Freeform 15"/>
              <p:cNvSpPr/>
              <p:nvPr/>
            </p:nvSpPr>
            <p:spPr>
              <a:xfrm flipV="1">
                <a:off x="1079500" y="1879600"/>
                <a:ext cx="2209800" cy="3975100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27000" sx="107000" sy="107000" algn="ctr" rotWithShape="0">
                  <a:schemeClr val="tx1">
                    <a:alpha val="2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762998" y="1969713"/>
              <a:ext cx="2411001" cy="724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DEVLET GARANTİLİ</a:t>
              </a:r>
              <a:b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ALICI KREDİLERİ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506046" y="2442873"/>
            <a:ext cx="2388473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lıcı: Kamu Sektörü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orçlu: Devlet adına borçlanmaya yetkili kuru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redi anlaşması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evk sonrası finansman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304871" y="2469063"/>
            <a:ext cx="232825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lıcı: Özel Sektö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orçlu: Yurt </a:t>
            </a:r>
            <a:r>
              <a:rPr kumimoji="0" lang="tr-T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ışında </a:t>
            </a: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yerleşik ticari banka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otatif bazlı kredi anlaşması</a:t>
            </a:r>
          </a:p>
          <a:p>
            <a:pPr marL="271463" marR="0" lvl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evk öncesi/sonrası finansma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finansman</a:t>
            </a: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olanağı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029164" y="2442873"/>
            <a:ext cx="2825845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lıcı: Özel Sektö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orçlu: Yurt içinde yerleşik ticari </a:t>
            </a:r>
            <a:r>
              <a:rPr kumimoji="0" lang="tr-T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bankaların yurt</a:t>
            </a:r>
            <a:r>
              <a:rPr kumimoji="0" lang="tr-TR" sz="16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dışı şube ve iştirakleri</a:t>
            </a: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Kullandırım: Şube, iştirak banka veya muhabir bankalar aracılığıyl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evk öncesi/sonrası finansma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Refinansman olanağı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69201" y="144548"/>
            <a:ext cx="750457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ÜRÜN VE HİZMETL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1" i="0" u="none" strike="noStrike" kern="1200" cap="none" spc="60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8762652" y="914989"/>
            <a:ext cx="3184706" cy="4423909"/>
            <a:chOff x="291803" y="1866761"/>
            <a:chExt cx="2411001" cy="4956808"/>
          </a:xfrm>
        </p:grpSpPr>
        <p:grpSp>
          <p:nvGrpSpPr>
            <p:cNvPr id="32" name="Group 31"/>
            <p:cNvGrpSpPr/>
            <p:nvPr/>
          </p:nvGrpSpPr>
          <p:grpSpPr>
            <a:xfrm>
              <a:off x="392405" y="1866761"/>
              <a:ext cx="2209802" cy="4956808"/>
              <a:chOff x="608305" y="897892"/>
              <a:chExt cx="2209802" cy="4956808"/>
            </a:xfrm>
          </p:grpSpPr>
          <p:sp>
            <p:nvSpPr>
              <p:cNvPr id="34" name="Round Same Side Corner Rectangle 33"/>
              <p:cNvSpPr/>
              <p:nvPr/>
            </p:nvSpPr>
            <p:spPr>
              <a:xfrm>
                <a:off x="608307" y="897892"/>
                <a:ext cx="2209800" cy="2743200"/>
              </a:xfrm>
              <a:prstGeom prst="round2SameRect">
                <a:avLst/>
              </a:pr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5" name="Freeform 34"/>
              <p:cNvSpPr/>
              <p:nvPr/>
            </p:nvSpPr>
            <p:spPr>
              <a:xfrm flipV="1">
                <a:off x="608305" y="1879600"/>
                <a:ext cx="2209800" cy="3975100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27000" sx="107000" sy="107000" algn="ctr" rotWithShape="0">
                  <a:schemeClr val="tx1">
                    <a:alpha val="2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291803" y="1969713"/>
              <a:ext cx="2411001" cy="724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NİYET </a:t>
              </a:r>
              <a:b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kumimoji="0" lang="tr-TR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EKTUPLARI</a:t>
              </a: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063814" y="2419297"/>
            <a:ext cx="2732149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Yurt dışı ihalelere katılm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Ülkelerde iş geliştirme aşamasında ihtiyaç duyulan desteğin karşılanması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aahhüt içermez</a:t>
            </a:r>
          </a:p>
          <a:p>
            <a:pPr marL="271463" marR="0" lvl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white">
                  <a:lumMod val="65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uhtemel finansal koşulları içeren (3 ay) veya içermeyen (6 ay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907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00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  <p:bldP spid="30" grpId="0"/>
      <p:bldP spid="3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47472" y="225011"/>
            <a:ext cx="81407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PROJE KREDİLERİ-ÖRNEK İŞLEMLER</a:t>
            </a:r>
          </a:p>
        </p:txBody>
      </p:sp>
      <p:graphicFrame>
        <p:nvGraphicFramePr>
          <p:cNvPr id="64" name="Table 63"/>
          <p:cNvGraphicFramePr>
            <a:graphicFrameLocks noGrp="1"/>
          </p:cNvGraphicFramePr>
          <p:nvPr/>
        </p:nvGraphicFramePr>
        <p:xfrm>
          <a:off x="447472" y="1239367"/>
          <a:ext cx="3738065" cy="1010564"/>
        </p:xfrm>
        <a:graphic>
          <a:graphicData uri="http://schemas.openxmlformats.org/drawingml/2006/table">
            <a:tbl>
              <a:tblPr firstRow="1" bandRow="1"/>
              <a:tblGrid>
                <a:gridCol w="18106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74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240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tiyopya – Demiryolu Projesi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5393D"/>
                      </a:solidFill>
                    </a:lnT>
                    <a:lnB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tr-TR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>
                      <a:noFill/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998347"/>
                  </a:ext>
                </a:extLst>
              </a:tr>
              <a:tr h="3224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oje Tutarı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>
                      <a:noFill/>
                    </a:lnR>
                    <a:lnT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r"/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7 Milyar $</a:t>
                      </a:r>
                    </a:p>
                  </a:txBody>
                  <a:tcPr>
                    <a:lnL>
                      <a:noFill/>
                    </a:lnL>
                    <a:lnR w="12700" cmpd="sng">
                      <a:solidFill>
                        <a:srgbClr val="D5393D"/>
                      </a:solidFill>
                    </a:lnR>
                    <a:lnT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4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redi Tutarı</a:t>
                      </a:r>
                      <a:endParaRPr lang="tr-TR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r"/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0 Milyon $</a:t>
                      </a:r>
                    </a:p>
                  </a:txBody>
                  <a:tcPr>
                    <a:lnL>
                      <a:noFill/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6" name="Content Placeholder 2"/>
          <p:cNvSpPr txBox="1">
            <a:spLocks/>
          </p:cNvSpPr>
          <p:nvPr/>
        </p:nvSpPr>
        <p:spPr>
          <a:xfrm>
            <a:off x="3885666" y="1239366"/>
            <a:ext cx="3218817" cy="1070813"/>
          </a:xfrm>
          <a:prstGeom prst="rect">
            <a:avLst/>
          </a:prstGeom>
        </p:spPr>
        <p:txBody>
          <a:bodyPr>
            <a:noAutofit/>
          </a:bodyPr>
          <a:lstStyle/>
          <a:p>
            <a:pPr marL="742932" marR="0" lvl="1" indent="-285744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tr-T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Diğer ihracat kredi kuruluşlarıyla işbirliği</a:t>
            </a:r>
          </a:p>
          <a:p>
            <a:pPr marL="742932" marR="0" lvl="1" indent="-285744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tr-T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İhracat limanına ve iç pazarlara erişim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7" name="Picture Placeholder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858" b="20858"/>
          <a:stretch>
            <a:fillRect/>
          </a:stretch>
        </p:blipFill>
        <p:spPr>
          <a:xfrm>
            <a:off x="7059377" y="957100"/>
            <a:ext cx="3400296" cy="16551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71" name="Table 70"/>
          <p:cNvGraphicFramePr>
            <a:graphicFrameLocks noGrp="1"/>
          </p:cNvGraphicFramePr>
          <p:nvPr/>
        </p:nvGraphicFramePr>
        <p:xfrm>
          <a:off x="447472" y="4600726"/>
          <a:ext cx="3723808" cy="1010564"/>
        </p:xfrm>
        <a:graphic>
          <a:graphicData uri="http://schemas.openxmlformats.org/drawingml/2006/table">
            <a:tbl>
              <a:tblPr firstRow="1" bandRow="1"/>
              <a:tblGrid>
                <a:gridCol w="18037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01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240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Gana – Su Projesi</a:t>
                      </a:r>
                      <a:r>
                        <a:rPr kumimoji="0" lang="tr-TR" sz="1800" b="1" i="0" u="none" strike="noStrike" kern="0" cap="none" spc="0" normalizeH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kumimoji="0" lang="tr-TR" sz="1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5393D"/>
                      </a:solidFill>
                    </a:lnT>
                    <a:lnB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tr-TR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>
                      <a:noFill/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341315"/>
                  </a:ext>
                </a:extLst>
              </a:tr>
              <a:tr h="3224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oje Tutarı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>
                      <a:noFill/>
                    </a:lnR>
                    <a:lnT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r"/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5 Milyon $</a:t>
                      </a:r>
                    </a:p>
                  </a:txBody>
                  <a:tcPr>
                    <a:lnL>
                      <a:noFill/>
                    </a:lnL>
                    <a:lnR w="12700" cmpd="sng">
                      <a:solidFill>
                        <a:srgbClr val="D5393D"/>
                      </a:solidFill>
                    </a:lnR>
                    <a:lnT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4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redi Tutarı</a:t>
                      </a:r>
                      <a:endParaRPr lang="tr-TR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r"/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,4 Milyon $</a:t>
                      </a:r>
                    </a:p>
                  </a:txBody>
                  <a:tcPr>
                    <a:lnL>
                      <a:noFill/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3" name="Content Placeholder 2"/>
          <p:cNvSpPr txBox="1">
            <a:spLocks/>
          </p:cNvSpPr>
          <p:nvPr/>
        </p:nvSpPr>
        <p:spPr>
          <a:xfrm>
            <a:off x="3897349" y="4685283"/>
            <a:ext cx="2609227" cy="399046"/>
          </a:xfrm>
          <a:prstGeom prst="rect">
            <a:avLst/>
          </a:prstGeom>
        </p:spPr>
        <p:txBody>
          <a:bodyPr>
            <a:noAutofit/>
          </a:bodyPr>
          <a:lstStyle/>
          <a:p>
            <a:pPr marL="742932" marR="0" lvl="1" indent="-285744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tr-T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360 bin kişinin 30 yıllık su ihtiyacı</a:t>
            </a: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075" y="4264284"/>
            <a:ext cx="2505920" cy="184243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9" name="Content Placeholder 2"/>
          <p:cNvSpPr txBox="1">
            <a:spLocks/>
          </p:cNvSpPr>
          <p:nvPr/>
        </p:nvSpPr>
        <p:spPr>
          <a:xfrm>
            <a:off x="3927816" y="2625331"/>
            <a:ext cx="3131561" cy="768997"/>
          </a:xfrm>
          <a:prstGeom prst="rect">
            <a:avLst/>
          </a:prstGeom>
        </p:spPr>
        <p:txBody>
          <a:bodyPr>
            <a:noAutofit/>
          </a:bodyPr>
          <a:lstStyle/>
          <a:p>
            <a:pPr marL="742932" marR="0" lvl="1" indent="-285744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tr-T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50.000 Kişilik Stadyum </a:t>
            </a:r>
          </a:p>
          <a:p>
            <a:pPr marL="742932" marR="0" lvl="1" indent="-285744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tr-T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Olimpik Havuz</a:t>
            </a:r>
          </a:p>
          <a:p>
            <a:pPr marL="742932" marR="0" lvl="1" indent="-285744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tr-T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Çok Amaçlı Spor Salonu</a:t>
            </a:r>
          </a:p>
        </p:txBody>
      </p:sp>
      <p:graphicFrame>
        <p:nvGraphicFramePr>
          <p:cNvPr id="80" name="Table 79"/>
          <p:cNvGraphicFramePr>
            <a:graphicFrameLocks noGrp="1"/>
          </p:cNvGraphicFramePr>
          <p:nvPr/>
        </p:nvGraphicFramePr>
        <p:xfrm>
          <a:off x="447472" y="2632329"/>
          <a:ext cx="3738065" cy="1332966"/>
        </p:xfrm>
        <a:graphic>
          <a:graphicData uri="http://schemas.openxmlformats.org/drawingml/2006/table">
            <a:tbl>
              <a:tblPr firstRow="1" bandRow="1"/>
              <a:tblGrid>
                <a:gridCol w="1869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689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2402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8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Kamerun - Spor Kompleksi Projesi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D5393D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tr-TR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>
                      <a:noFill/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1932290"/>
                  </a:ext>
                </a:extLst>
              </a:tr>
              <a:tr h="3224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oje Tutarı</a:t>
                      </a:r>
                    </a:p>
                  </a:txBody>
                  <a:tcPr anchor="ctr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r"/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2 Milyon $</a:t>
                      </a:r>
                    </a:p>
                  </a:txBody>
                  <a:tcPr anchor="ctr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4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redi Tutarı</a:t>
                      </a:r>
                      <a:endParaRPr lang="tr-TR" sz="14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8,7 Milyon $</a:t>
                      </a:r>
                    </a:p>
                  </a:txBody>
                  <a:tcPr>
                    <a:lnL>
                      <a:noFill/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noFill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24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r>
                        <a:rPr lang="tr-TR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CIEC Sigortası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>
                      <a:noFill/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r"/>
                      <a:r>
                        <a:rPr lang="tr-TR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9,3 milyon $</a:t>
                      </a:r>
                    </a:p>
                  </a:txBody>
                  <a:tcPr>
                    <a:lnL>
                      <a:noFill/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81" name="Picture 8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9377" y="2509355"/>
            <a:ext cx="3400296" cy="18112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94929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27626" y="228016"/>
            <a:ext cx="10392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İCARETİN FİNANSMANI- ÖRNEK İŞLEMLER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4207" y="2301459"/>
            <a:ext cx="2117977" cy="13064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1674" y="2286420"/>
            <a:ext cx="2186408" cy="13500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65" name="Table 64"/>
          <p:cNvGraphicFramePr>
            <a:graphicFrameLocks noGrp="1"/>
          </p:cNvGraphicFramePr>
          <p:nvPr/>
        </p:nvGraphicFramePr>
        <p:xfrm>
          <a:off x="1616274" y="1021997"/>
          <a:ext cx="2037208" cy="1251634"/>
        </p:xfrm>
        <a:graphic>
          <a:graphicData uri="http://schemas.openxmlformats.org/drawingml/2006/table">
            <a:tbl>
              <a:tblPr bandRow="1"/>
              <a:tblGrid>
                <a:gridCol w="20372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8653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kumimoji="0" lang="tr-TR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Azerbaycan</a:t>
                      </a:r>
                      <a:endParaRPr kumimoji="0" lang="tr-TR" sz="1800" b="1" i="0" u="none" strike="noStrike" kern="0" cap="none" spc="0" normalizeH="0" baseline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25270"/>
                  </a:ext>
                </a:extLst>
              </a:tr>
              <a:tr h="5531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Haddehane Makine ve  Ekipman İhracatı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 milyon $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9" name="Table 68"/>
          <p:cNvGraphicFramePr>
            <a:graphicFrameLocks noGrp="1"/>
          </p:cNvGraphicFramePr>
          <p:nvPr/>
        </p:nvGraphicFramePr>
        <p:xfrm>
          <a:off x="4605439" y="1021997"/>
          <a:ext cx="2037208" cy="1261159"/>
        </p:xfrm>
        <a:graphic>
          <a:graphicData uri="http://schemas.openxmlformats.org/drawingml/2006/table">
            <a:tbl>
              <a:tblPr bandRow="1"/>
              <a:tblGrid>
                <a:gridCol w="20372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8178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kumimoji="0" lang="tr-TR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ibuti</a:t>
                      </a:r>
                      <a:endParaRPr kumimoji="0" lang="tr-TR" sz="1800" b="1" i="0" u="none" strike="noStrike" kern="0" cap="none" spc="0" normalizeH="0" baseline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4038263"/>
                  </a:ext>
                </a:extLst>
              </a:tr>
              <a:tr h="5531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eotermal Sondaj </a:t>
                      </a:r>
                    </a:p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kine İhracatı</a:t>
                      </a:r>
                      <a:endParaRPr lang="tr-TR" sz="16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milyon $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3" name="Table 72"/>
          <p:cNvGraphicFramePr>
            <a:graphicFrameLocks noGrp="1"/>
          </p:cNvGraphicFramePr>
          <p:nvPr/>
        </p:nvGraphicFramePr>
        <p:xfrm>
          <a:off x="7394579" y="1021997"/>
          <a:ext cx="2037208" cy="1251634"/>
        </p:xfrm>
        <a:graphic>
          <a:graphicData uri="http://schemas.openxmlformats.org/drawingml/2006/table">
            <a:tbl>
              <a:tblPr bandRow="1"/>
              <a:tblGrid>
                <a:gridCol w="20372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8653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kumimoji="0" lang="tr-TR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Rusya</a:t>
                      </a:r>
                      <a:endParaRPr kumimoji="0" lang="tr-TR" sz="1800" b="1" i="0" u="none" strike="noStrike" kern="0" cap="none" spc="0" normalizeH="0" baseline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623981"/>
                  </a:ext>
                </a:extLst>
              </a:tr>
              <a:tr h="5531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azır Giyim İhracatı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milyon $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7" name="Table 76"/>
          <p:cNvGraphicFramePr>
            <a:graphicFrameLocks noGrp="1"/>
          </p:cNvGraphicFramePr>
          <p:nvPr/>
        </p:nvGraphicFramePr>
        <p:xfrm>
          <a:off x="1616274" y="3734739"/>
          <a:ext cx="2037208" cy="1234467"/>
        </p:xfrm>
        <a:graphic>
          <a:graphicData uri="http://schemas.openxmlformats.org/drawingml/2006/table">
            <a:tbl>
              <a:tblPr bandRow="1"/>
              <a:tblGrid>
                <a:gridCol w="20372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1486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kumimoji="0" lang="tr-TR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KKTC</a:t>
                      </a:r>
                      <a:endParaRPr kumimoji="0" lang="tr-TR" sz="1800" b="1" i="0" u="none" strike="noStrike" kern="0" cap="none" spc="0" normalizeH="0" baseline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3946675"/>
                  </a:ext>
                </a:extLst>
              </a:tr>
              <a:tr h="5531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mir Çelik İhracatı</a:t>
                      </a:r>
                      <a:b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endParaRPr lang="tr-T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8 bin $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1" name="Table 80"/>
          <p:cNvGraphicFramePr>
            <a:graphicFrameLocks noGrp="1"/>
          </p:cNvGraphicFramePr>
          <p:nvPr/>
        </p:nvGraphicFramePr>
        <p:xfrm>
          <a:off x="7359335" y="3636456"/>
          <a:ext cx="2205610" cy="1469182"/>
        </p:xfrm>
        <a:graphic>
          <a:graphicData uri="http://schemas.openxmlformats.org/drawingml/2006/table">
            <a:tbl>
              <a:tblPr bandRow="1"/>
              <a:tblGrid>
                <a:gridCol w="22056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6995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kumimoji="0" lang="tr-TR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Özbekistan</a:t>
                      </a:r>
                      <a:endParaRPr kumimoji="0" lang="tr-TR" sz="1800" b="1" i="0" u="none" strike="noStrike" kern="0" cap="none" spc="0" normalizeH="0" baseline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477639"/>
                  </a:ext>
                </a:extLst>
              </a:tr>
              <a:tr h="570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Tekstil Fabrikası Makine ve  Ekipman İhracatı</a:t>
                      </a:r>
                      <a:endParaRPr lang="tr-T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3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milyon</a:t>
                      </a:r>
                      <a:r>
                        <a:rPr lang="tr-TR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$ 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2" name="Picture 8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313" y="4996857"/>
            <a:ext cx="2251653" cy="11377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4579" y="2285583"/>
            <a:ext cx="2115195" cy="12212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1674" y="4943446"/>
            <a:ext cx="2111808" cy="123969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4605439" y="3746628"/>
          <a:ext cx="2037208" cy="1241628"/>
        </p:xfrm>
        <a:graphic>
          <a:graphicData uri="http://schemas.openxmlformats.org/drawingml/2006/table">
            <a:tbl>
              <a:tblPr bandRow="1"/>
              <a:tblGrid>
                <a:gridCol w="2037208">
                  <a:extLst>
                    <a:ext uri="{9D8B030D-6E8A-4147-A177-3AD203B41FA5}">
                      <a16:colId xmlns:a16="http://schemas.microsoft.com/office/drawing/2014/main" val="4222746323"/>
                    </a:ext>
                  </a:extLst>
                </a:gridCol>
              </a:tblGrid>
              <a:tr h="358647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kumimoji="0" lang="tr-TR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Tunus</a:t>
                      </a:r>
                      <a:endParaRPr kumimoji="0" lang="tr-TR" sz="1800" b="1" i="0" u="none" strike="noStrike" kern="0" cap="none" spc="0" normalizeH="0" baseline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09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155465"/>
                  </a:ext>
                </a:extLst>
              </a:tr>
              <a:tr h="55319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İnsansız</a:t>
                      </a:r>
                      <a:r>
                        <a:rPr lang="tr-TR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Hava Aracı İhracatı(İHA)</a:t>
                      </a:r>
                      <a:endParaRPr lang="tr-T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ap="flat" cmpd="sng" algn="ctr">
                      <a:solidFill>
                        <a:srgbClr val="D539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393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898059"/>
                  </a:ext>
                </a:extLst>
              </a:tr>
              <a:tr h="329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indent="0" algn="ctr">
                        <a:lnSpc>
                          <a:spcPct val="9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tr-T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 milyon $</a:t>
                      </a:r>
                    </a:p>
                  </a:txBody>
                  <a:tcPr>
                    <a:lnL w="12700" cmpd="sng">
                      <a:solidFill>
                        <a:srgbClr val="D5393D"/>
                      </a:solidFill>
                    </a:lnL>
                    <a:lnR w="12700" cmpd="sng">
                      <a:solidFill>
                        <a:srgbClr val="D5393D"/>
                      </a:solidFill>
                    </a:lnR>
                    <a:lnT w="12700" cmpd="sng">
                      <a:solidFill>
                        <a:srgbClr val="D5393D"/>
                      </a:solidFill>
                    </a:lnT>
                    <a:lnB w="12700" cmpd="sng">
                      <a:solidFill>
                        <a:srgbClr val="D5393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7600282"/>
                  </a:ext>
                </a:extLst>
              </a:tr>
            </a:tbl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4586" y="4995451"/>
            <a:ext cx="2114105" cy="13042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68056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9746" y="1014149"/>
            <a:ext cx="1334015" cy="5230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7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997815" y="1298674"/>
            <a:ext cx="10027808" cy="2527813"/>
            <a:chOff x="333540" y="1409037"/>
            <a:chExt cx="10027808" cy="2663494"/>
          </a:xfrm>
          <a:effectLst>
            <a:outerShdw blurRad="50800" dist="50800" algn="l" rotWithShape="0">
              <a:prstClr val="black">
                <a:alpha val="30000"/>
              </a:prstClr>
            </a:outerShdw>
          </a:effectLst>
        </p:grpSpPr>
        <p:grpSp>
          <p:nvGrpSpPr>
            <p:cNvPr id="15" name="Group 14"/>
            <p:cNvGrpSpPr/>
            <p:nvPr/>
          </p:nvGrpSpPr>
          <p:grpSpPr>
            <a:xfrm>
              <a:off x="333543" y="2103546"/>
              <a:ext cx="10027805" cy="588289"/>
              <a:chOff x="333543" y="2058430"/>
              <a:chExt cx="10027805" cy="588289"/>
            </a:xfrm>
          </p:grpSpPr>
          <p:sp>
            <p:nvSpPr>
              <p:cNvPr id="22" name="Rectangle 4"/>
              <p:cNvSpPr/>
              <p:nvPr/>
            </p:nvSpPr>
            <p:spPr>
              <a:xfrm>
                <a:off x="333543" y="2058430"/>
                <a:ext cx="2146480" cy="58828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3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8.</a:t>
                </a:r>
                <a:endParaRPr kumimoji="0" lang="tr-TR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23" name="Rectangle 12"/>
              <p:cNvSpPr/>
              <p:nvPr/>
            </p:nvSpPr>
            <p:spPr>
              <a:xfrm>
                <a:off x="2567348" y="2058431"/>
                <a:ext cx="7794000" cy="5882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Kredi büyüklüğünde </a:t>
                </a:r>
                <a:r>
                  <a:rPr kumimoji="0" lang="tr-T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Türkiye’nin </a:t>
                </a:r>
                <a:r>
                  <a:rPr kumimoji="0" lang="tr-T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8. </a:t>
                </a:r>
                <a:r>
                  <a:rPr kumimoji="0" lang="tr-T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büyük bankası</a:t>
                </a: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333543" y="1409037"/>
              <a:ext cx="10027805" cy="588288"/>
              <a:chOff x="368553" y="1409037"/>
              <a:chExt cx="10027805" cy="588288"/>
            </a:xfrm>
          </p:grpSpPr>
          <p:sp>
            <p:nvSpPr>
              <p:cNvPr id="24" name="Rectangle 4"/>
              <p:cNvSpPr/>
              <p:nvPr/>
            </p:nvSpPr>
            <p:spPr>
              <a:xfrm>
                <a:off x="368553" y="1409037"/>
                <a:ext cx="2146480" cy="588288"/>
              </a:xfrm>
              <a:prstGeom prst="rect">
                <a:avLst/>
              </a:prstGeom>
              <a:solidFill>
                <a:srgbClr val="A60933"/>
              </a:solidFill>
              <a:ln w="19050">
                <a:solidFill>
                  <a:srgbClr val="A60933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3999" b="1" i="0" u="none" strike="noStrike" kern="1200" cap="none" spc="0" normalizeH="0" baseline="0" noProof="0" dirty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Rectangle 12"/>
              <p:cNvSpPr/>
              <p:nvPr/>
            </p:nvSpPr>
            <p:spPr>
              <a:xfrm>
                <a:off x="2602358" y="1409037"/>
                <a:ext cx="7794000" cy="5882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600"/>
                  </a:spcAft>
                  <a:buClrTx/>
                  <a:buSzPct val="110000"/>
                  <a:buFontTx/>
                  <a:buNone/>
                  <a:tabLst/>
                  <a:defRPr/>
                </a:pPr>
                <a:r>
                  <a:rPr kumimoji="0" lang="tr-T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1987 </a:t>
                </a:r>
                <a:r>
                  <a:rPr kumimoji="0" lang="tr-T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yılında kurulmuştur.</a:t>
                </a: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333540" y="2805425"/>
              <a:ext cx="10027808" cy="588288"/>
              <a:chOff x="348851" y="2716497"/>
              <a:chExt cx="10027808" cy="588288"/>
            </a:xfrm>
          </p:grpSpPr>
          <p:sp>
            <p:nvSpPr>
              <p:cNvPr id="25" name="Rectangle 4"/>
              <p:cNvSpPr/>
              <p:nvPr/>
            </p:nvSpPr>
            <p:spPr>
              <a:xfrm>
                <a:off x="348851" y="2716497"/>
                <a:ext cx="2146480" cy="58828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4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1</a:t>
                </a:r>
                <a:r>
                  <a:rPr kumimoji="0" lang="tr-TR" sz="3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.</a:t>
                </a:r>
                <a:endParaRPr kumimoji="0" lang="tr-TR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" name="Rectangle 12"/>
              <p:cNvSpPr/>
              <p:nvPr/>
            </p:nvSpPr>
            <p:spPr>
              <a:xfrm>
                <a:off x="2582659" y="2716497"/>
                <a:ext cx="7794000" cy="5882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Türkiye’nin </a:t>
                </a:r>
                <a:r>
                  <a:rPr kumimoji="0" lang="tr-TR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en büyük alacak sigortası </a:t>
                </a:r>
                <a:r>
                  <a:rPr kumimoji="0" lang="tr-T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kuruluşu</a:t>
                </a:r>
                <a:endParaRPr kumimoji="0" lang="tr-TR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333540" y="3473674"/>
              <a:ext cx="10027808" cy="598857"/>
              <a:chOff x="348851" y="3428754"/>
              <a:chExt cx="10027808" cy="598857"/>
            </a:xfrm>
          </p:grpSpPr>
          <p:sp>
            <p:nvSpPr>
              <p:cNvPr id="36" name="Rectangle 4"/>
              <p:cNvSpPr/>
              <p:nvPr/>
            </p:nvSpPr>
            <p:spPr>
              <a:xfrm>
                <a:off x="348851" y="3428754"/>
                <a:ext cx="2146481" cy="58828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3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15.750</a:t>
                </a:r>
                <a:endParaRPr kumimoji="0" lang="tr-TR" sz="3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37" name="Rectangle 12"/>
              <p:cNvSpPr/>
              <p:nvPr/>
            </p:nvSpPr>
            <p:spPr>
              <a:xfrm>
                <a:off x="2582659" y="3439323"/>
                <a:ext cx="7794000" cy="58828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Aktif çalışılan ihracatçı firma sayısı</a:t>
                </a:r>
                <a:endParaRPr kumimoji="0" lang="tr-TR" sz="18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26" name="Rectangle 25"/>
          <p:cNvSpPr/>
          <p:nvPr/>
        </p:nvSpPr>
        <p:spPr>
          <a:xfrm>
            <a:off x="3639237" y="257846"/>
            <a:ext cx="4913525" cy="707886"/>
          </a:xfrm>
          <a:prstGeom prst="rect">
            <a:avLst/>
          </a:prstGeom>
          <a:effectLst>
            <a:outerShdw blurRad="12700" dist="25400" algn="l" rotWithShape="0">
              <a:prstClr val="black">
                <a:alpha val="15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000" b="1" i="0" u="none" strike="noStrike" kern="1200" cap="none" spc="600" normalizeH="0" baseline="0" noProof="0" dirty="0" smtClean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</a:t>
            </a:r>
            <a:r>
              <a:rPr kumimoji="0" lang="tr-TR" sz="3200" b="1" i="0" u="none" strike="noStrike" kern="1200" cap="none" spc="600" normalizeH="0" baseline="0" noProof="0" dirty="0" smtClean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ÜRK </a:t>
            </a:r>
            <a:r>
              <a:rPr kumimoji="0" lang="tr-TR" sz="4000" b="1" i="0" u="none" strike="noStrike" kern="1200" cap="none" spc="600" normalizeH="0" baseline="0" noProof="0" dirty="0" smtClean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E</a:t>
            </a:r>
            <a:r>
              <a:rPr kumimoji="0" lang="tr-TR" sz="3200" b="1" i="0" u="none" strike="noStrike" kern="1200" cap="none" spc="600" normalizeH="0" baseline="0" noProof="0" dirty="0" smtClean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XIMBANK</a:t>
            </a:r>
            <a:endParaRPr kumimoji="0" lang="tr-TR" sz="3200" b="1" i="0" u="none" strike="noStrike" kern="1200" cap="none" spc="600" normalizeH="0" baseline="0" noProof="0" dirty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2212" y="1294273"/>
            <a:ext cx="925480" cy="576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253" y="5684749"/>
            <a:ext cx="1156850" cy="720000"/>
          </a:xfrm>
          <a:prstGeom prst="rect">
            <a:avLst/>
          </a:prstGeom>
          <a:noFill/>
        </p:spPr>
      </p:pic>
      <p:grpSp>
        <p:nvGrpSpPr>
          <p:cNvPr id="29" name="Group 28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30" name="Rectangle 29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2" name="Freeform 31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3" name="Freeform 32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34" name="Picture 33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  <p:sp>
        <p:nvSpPr>
          <p:cNvPr id="35" name="Rectangle 4"/>
          <p:cNvSpPr/>
          <p:nvPr/>
        </p:nvSpPr>
        <p:spPr>
          <a:xfrm>
            <a:off x="997815" y="3913615"/>
            <a:ext cx="2146481" cy="558320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% </a:t>
            </a:r>
            <a:r>
              <a:rPr kumimoji="0" lang="tr-TR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82</a:t>
            </a:r>
            <a:endParaRPr kumimoji="0" lang="tr-TR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Rectangle 12"/>
          <p:cNvSpPr/>
          <p:nvPr/>
        </p:nvSpPr>
        <p:spPr>
          <a:xfrm>
            <a:off x="3231623" y="3910082"/>
            <a:ext cx="7794000" cy="55832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Çalışılan firmalar arasında KOBİ oranı</a:t>
            </a:r>
            <a:endParaRPr kumimoji="0" lang="tr-TR" sz="18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777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52400" y="152399"/>
            <a:ext cx="12073467" cy="838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2238" tIns="122238" rIns="0" bIns="1905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tr-TR" b="1" spc="6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SÜRDÜRÜLEBİLİRLİK FAALİYETLERİMİZ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4629" y="1090292"/>
            <a:ext cx="1072393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tr-T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rmaların çevresel ve sosyal riski değerlendirilerek, </a:t>
            </a:r>
          </a:p>
          <a:p>
            <a:pPr marL="628650" lvl="1" indent="-171450"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tr-T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ünya Bankası (WB) </a:t>
            </a:r>
            <a:r>
              <a:rPr lang="tr-T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psamında</a:t>
            </a:r>
            <a:r>
              <a:rPr lang="tr-T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500 milyon Dolar, </a:t>
            </a:r>
          </a:p>
          <a:p>
            <a:pPr marL="628650" lvl="1" indent="-171450"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tr-T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ya Altyapı ve Yatırım Bankası (AIIB) </a:t>
            </a:r>
            <a:r>
              <a:rPr lang="tr-T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psamında </a:t>
            </a:r>
            <a:r>
              <a:rPr lang="tr-T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0 milyon Dolar, </a:t>
            </a:r>
          </a:p>
          <a:p>
            <a:pPr marL="628650" lvl="1" indent="-171450"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tr-T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vrupa Konseyi Kalkınma Bankası (CEB) </a:t>
            </a:r>
            <a:r>
              <a:rPr lang="tr-T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psamında </a:t>
            </a:r>
            <a:r>
              <a:rPr lang="tr-T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0 milyon Euro, </a:t>
            </a:r>
          </a:p>
          <a:p>
            <a:pPr marL="628650" lvl="1" indent="-171450"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tr-T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Çok Taraflı Yatırım Garanti Ajansı (MIGA) </a:t>
            </a:r>
            <a:r>
              <a:rPr lang="tr-T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psamında</a:t>
            </a:r>
            <a:r>
              <a:rPr lang="tr-TR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380 milyon Euro </a:t>
            </a:r>
            <a:r>
              <a:rPr lang="tr-T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ynak sağlanmış ve bu kaynaklardan ÇSRD ile kredi kullandırılmaktadır.</a:t>
            </a:r>
          </a:p>
          <a:p>
            <a:pPr lvl="1" algn="just">
              <a:lnSpc>
                <a:spcPct val="150000"/>
              </a:lnSpc>
              <a:spcBef>
                <a:spcPct val="0"/>
              </a:spcBef>
            </a:pPr>
            <a:endParaRPr lang="tr-TR" sz="1200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tr-T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ürdürülebilirlik bağlantılı sendikasyon kredisi ile </a:t>
            </a:r>
            <a:r>
              <a:rPr lang="tr-TR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00 milyon Euro </a:t>
            </a:r>
            <a:r>
              <a:rPr lang="tr-T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e </a:t>
            </a:r>
            <a:r>
              <a:rPr lang="tr-TR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88 milyon Dolar </a:t>
            </a:r>
            <a:r>
              <a:rPr lang="tr-T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utarında kaynak sağlanmıştır.</a:t>
            </a:r>
            <a:r>
              <a:rPr lang="tr-TR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171450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tr-TR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İlk Sürdürülebilirlik Raporumuz</a:t>
            </a:r>
            <a:r>
              <a:rPr lang="tr-T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22 yılında yayımlanmıştır. </a:t>
            </a: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256676" y="3888982"/>
            <a:ext cx="2131617" cy="838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2238" tIns="122238" rIns="0" bIns="1905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tr-TR" sz="2400" b="1" u="sng" spc="6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Sertifika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24" t="12421" r="29013" b="12597"/>
          <a:stretch/>
        </p:blipFill>
        <p:spPr>
          <a:xfrm>
            <a:off x="6711693" y="4978700"/>
            <a:ext cx="2020580" cy="182468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11" t="24029" r="25781" b="21904"/>
          <a:stretch/>
        </p:blipFill>
        <p:spPr>
          <a:xfrm>
            <a:off x="9400824" y="4935584"/>
            <a:ext cx="1707741" cy="17850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/>
          <a:srcRect l="48712" t="24212" r="29299" b="29787"/>
          <a:stretch/>
        </p:blipFill>
        <p:spPr>
          <a:xfrm>
            <a:off x="2280880" y="4978700"/>
            <a:ext cx="1860941" cy="16313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" name="Content Placeholder 2"/>
          <p:cNvSpPr txBox="1">
            <a:spLocks/>
          </p:cNvSpPr>
          <p:nvPr/>
        </p:nvSpPr>
        <p:spPr>
          <a:xfrm>
            <a:off x="-194767" y="4573295"/>
            <a:ext cx="2588908" cy="2134748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188" lvl="1">
              <a:spcBef>
                <a:spcPct val="20000"/>
              </a:spcBef>
              <a:buClr>
                <a:srgbClr val="C00000"/>
              </a:buClr>
              <a:defRPr/>
            </a:pPr>
            <a:r>
              <a:rPr lang="tr-TR" sz="1400" b="1" dirty="0">
                <a:solidFill>
                  <a:srgbClr val="A308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O 14064:2018 Sera Gazı Doğrulama Sertifikası</a:t>
            </a:r>
          </a:p>
          <a:p>
            <a:pPr marL="457188" lvl="1">
              <a:spcBef>
                <a:spcPct val="20000"/>
              </a:spcBef>
              <a:buClr>
                <a:srgbClr val="C00000"/>
              </a:buClr>
              <a:defRPr/>
            </a:pPr>
            <a:endParaRPr lang="tr-TR" sz="1400" b="1" u="sng" dirty="0">
              <a:solidFill>
                <a:srgbClr val="A3083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32" lvl="1" indent="-285744">
              <a:spcBef>
                <a:spcPct val="20000"/>
              </a:spcBef>
              <a:buClr>
                <a:srgbClr val="C00000"/>
              </a:buClr>
              <a:buFont typeface="Wingdings" pitchFamily="2" charset="2"/>
              <a:buChar char="ü"/>
              <a:defRPr/>
            </a:pPr>
            <a:r>
              <a:rPr lang="tr-TR" sz="1400" b="1" dirty="0">
                <a:solidFill>
                  <a:prstClr val="black">
                    <a:lumMod val="50000"/>
                    <a:lumOff val="50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ürk Bankacılık sektöründe ilk ve tek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3984645" y="4573295"/>
            <a:ext cx="2588908" cy="1279104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188" lvl="1">
              <a:spcBef>
                <a:spcPct val="20000"/>
              </a:spcBef>
              <a:buClr>
                <a:srgbClr val="C00000"/>
              </a:buClr>
              <a:defRPr/>
            </a:pPr>
            <a:r>
              <a:rPr lang="tr-TR" sz="1400" b="1" dirty="0">
                <a:solidFill>
                  <a:srgbClr val="A308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isyon Hesaplama Projesi Ödülü</a:t>
            </a:r>
          </a:p>
          <a:p>
            <a:pPr marL="742932" lvl="1" indent="-285744">
              <a:spcBef>
                <a:spcPct val="20000"/>
              </a:spcBef>
              <a:buClr>
                <a:srgbClr val="C00000"/>
              </a:buClr>
              <a:buFont typeface="Wingdings" pitchFamily="2" charset="2"/>
              <a:buChar char="ü"/>
              <a:defRPr/>
            </a:pPr>
            <a:r>
              <a:rPr lang="tr-TR" sz="1400" b="1" dirty="0">
                <a:solidFill>
                  <a:prstClr val="black">
                    <a:lumMod val="50000"/>
                    <a:lumOff val="50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üm ihracatçılarımızın emisyonu hesaplandı.</a:t>
            </a:r>
          </a:p>
          <a:p>
            <a:pPr marL="742932" lvl="1" indent="-285744">
              <a:spcBef>
                <a:spcPct val="20000"/>
              </a:spcBef>
              <a:buClr>
                <a:srgbClr val="C00000"/>
              </a:buClr>
              <a:buFont typeface="Wingdings" pitchFamily="2" charset="2"/>
              <a:buChar char="ü"/>
              <a:defRPr/>
            </a:pPr>
            <a:r>
              <a:rPr kumimoji="0" lang="tr-T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Yurt</a:t>
            </a:r>
            <a:r>
              <a:rPr kumimoji="0" lang="tr-TR" sz="1400" b="1" i="0" u="none" strike="noStrike" kern="1200" cap="none" spc="0" normalizeH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dışı ve yurt içi 2 ödül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6181724" y="4591455"/>
            <a:ext cx="2498197" cy="6274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188" lvl="1">
              <a:spcBef>
                <a:spcPct val="20000"/>
              </a:spcBef>
              <a:buClr>
                <a:srgbClr val="C00000"/>
              </a:buClr>
              <a:defRPr/>
            </a:pPr>
            <a:r>
              <a:rPr lang="tr-TR" sz="1400" b="1" dirty="0">
                <a:solidFill>
                  <a:srgbClr val="A308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OSD Ödülü - Almanya</a:t>
            </a:r>
          </a:p>
        </p:txBody>
      </p:sp>
      <p:sp>
        <p:nvSpPr>
          <p:cNvPr id="20" name="Rectangle 19"/>
          <p:cNvSpPr/>
          <p:nvPr/>
        </p:nvSpPr>
        <p:spPr>
          <a:xfrm>
            <a:off x="8228458" y="4573295"/>
            <a:ext cx="35714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188" lvl="1">
              <a:spcBef>
                <a:spcPct val="20000"/>
              </a:spcBef>
              <a:buClr>
                <a:srgbClr val="C00000"/>
              </a:buClr>
              <a:defRPr/>
            </a:pPr>
            <a:r>
              <a:rPr lang="tr-TR" sz="1400" b="1" dirty="0">
                <a:solidFill>
                  <a:srgbClr val="A308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Çevre İletişim Zirvesi Ödülü - Ankara</a:t>
            </a: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292447" y="3888982"/>
            <a:ext cx="4439826" cy="838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2238" tIns="122238" rIns="0" bIns="1905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tr-TR" sz="2400" b="1" u="sng" spc="600" dirty="0">
                <a:solidFill>
                  <a:srgbClr val="A60933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Ödüller</a:t>
            </a:r>
          </a:p>
        </p:txBody>
      </p:sp>
      <p:sp>
        <p:nvSpPr>
          <p:cNvPr id="22" name="AutoShape 51"/>
          <p:cNvSpPr/>
          <p:nvPr/>
        </p:nvSpPr>
        <p:spPr>
          <a:xfrm flipH="1">
            <a:off x="4053327" y="5089034"/>
            <a:ext cx="62496" cy="1387719"/>
          </a:xfrm>
          <a:prstGeom prst="rect">
            <a:avLst/>
          </a:prstGeom>
          <a:solidFill>
            <a:srgbClr val="000000">
              <a:alpha val="19608"/>
            </a:srgbClr>
          </a:solidFill>
        </p:spPr>
      </p:sp>
    </p:spTree>
    <p:extLst>
      <p:ext uri="{BB962C8B-B14F-4D97-AF65-F5344CB8AC3E}">
        <p14:creationId xmlns:p14="http://schemas.microsoft.com/office/powerpoint/2010/main" val="245079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3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4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185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251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6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7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0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1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2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3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4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5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6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7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8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9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0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1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2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3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4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5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8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0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1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2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3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5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6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7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8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9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0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1" name="Group 360"/>
          <p:cNvGrpSpPr/>
          <p:nvPr/>
        </p:nvGrpSpPr>
        <p:grpSpPr>
          <a:xfrm>
            <a:off x="1473600" y="348458"/>
            <a:ext cx="8758458" cy="5846119"/>
            <a:chOff x="1717042" y="2871667"/>
            <a:chExt cx="8758458" cy="3511655"/>
          </a:xfrm>
        </p:grpSpPr>
        <p:sp>
          <p:nvSpPr>
            <p:cNvPr id="362" name="Title 1"/>
            <p:cNvSpPr txBox="1">
              <a:spLocks/>
            </p:cNvSpPr>
            <p:nvPr/>
          </p:nvSpPr>
          <p:spPr>
            <a:xfrm>
              <a:off x="1717042" y="4336578"/>
              <a:ext cx="8758458" cy="2046744"/>
            </a:xfrm>
            <a:prstGeom prst="rect">
              <a:avLst/>
            </a:prstGeom>
          </p:spPr>
          <p:txBody>
            <a:bodyPr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2800" b="0" i="0" u="none" strike="noStrike" kern="1200" cap="none" spc="10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2800" b="0" i="0" u="none" strike="noStrike" kern="1200" cap="none" spc="10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3600" b="1" i="1" u="none" strike="noStrike" kern="1200" cap="none" spc="100" normalizeH="0" baseline="0" noProof="0" dirty="0" smtClean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Türk Eximbank’l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3600" b="1" i="1" u="none" strike="noStrike" kern="1200" cap="none" spc="100" normalizeH="0" baseline="0" noProof="0" dirty="0" smtClean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 üretim </a:t>
              </a:r>
              <a:r>
                <a:rPr kumimoji="0" lang="tr-TR" sz="3600" b="1" i="1" u="none" strike="noStrike" kern="1200" cap="none" spc="10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gücünüz ihracata dönüşsün</a:t>
              </a:r>
              <a:r>
                <a:rPr kumimoji="0" lang="tr-TR" sz="3600" b="1" i="1" u="none" strike="noStrike" kern="1200" cap="none" spc="10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uLnTx/>
                  <a:uFillTx/>
                  <a:latin typeface="Times New Roman" panose="02020603050405020304" pitchFamily="18" charset="0"/>
                  <a:ea typeface="+mj-ea"/>
                  <a:cs typeface="Times New Roman" panose="02020603050405020304" pitchFamily="18" charset="0"/>
                </a:rPr>
                <a:t>.</a:t>
              </a:r>
            </a:p>
          </p:txBody>
        </p:sp>
        <p:pic>
          <p:nvPicPr>
            <p:cNvPr id="363" name="Picture 36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2762" y="2871667"/>
              <a:ext cx="3618615" cy="1395381"/>
            </a:xfrm>
            <a:prstGeom prst="rect">
              <a:avLst/>
            </a:prstGeom>
            <a:solidFill>
              <a:srgbClr val="FAFFFF">
                <a:alpha val="0"/>
              </a:srgbClr>
            </a:solidFill>
            <a:effectLst>
              <a:outerShdw blurRad="50800" dist="50800" dir="5400000" algn="ctr" rotWithShape="0">
                <a:srgbClr val="000000">
                  <a:alpha val="2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772260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3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3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185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25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6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7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1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2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5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6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7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8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9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0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5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6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7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0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1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2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3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4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6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7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0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4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5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0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4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7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8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9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2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3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4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7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9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7" name="Parallelogram 366"/>
          <p:cNvSpPr/>
          <p:nvPr/>
        </p:nvSpPr>
        <p:spPr>
          <a:xfrm>
            <a:off x="5496735" y="3676153"/>
            <a:ext cx="2914695" cy="620110"/>
          </a:xfrm>
          <a:prstGeom prst="parallelogram">
            <a:avLst/>
          </a:prstGeom>
          <a:solidFill>
            <a:srgbClr val="A60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8" name="Parallelogram 367"/>
          <p:cNvSpPr/>
          <p:nvPr/>
        </p:nvSpPr>
        <p:spPr>
          <a:xfrm>
            <a:off x="3925614" y="3676153"/>
            <a:ext cx="1912883" cy="620110"/>
          </a:xfrm>
          <a:prstGeom prst="parallelogram">
            <a:avLst/>
          </a:prstGeom>
          <a:solidFill>
            <a:srgbClr val="A60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9" name="Rectangle 368"/>
          <p:cNvSpPr/>
          <p:nvPr/>
        </p:nvSpPr>
        <p:spPr>
          <a:xfrm flipV="1">
            <a:off x="4490720" y="2586474"/>
            <a:ext cx="3505200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0" name="Rectangle 369"/>
          <p:cNvSpPr/>
          <p:nvPr/>
        </p:nvSpPr>
        <p:spPr>
          <a:xfrm flipV="1">
            <a:off x="4444294" y="2586470"/>
            <a:ext cx="4306005" cy="45719"/>
          </a:xfrm>
          <a:prstGeom prst="rect">
            <a:avLst/>
          </a:prstGeom>
          <a:solidFill>
            <a:srgbClr val="B51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1" name="TextBox 370"/>
          <p:cNvSpPr txBox="1"/>
          <p:nvPr/>
        </p:nvSpPr>
        <p:spPr>
          <a:xfrm>
            <a:off x="2028306" y="2699821"/>
            <a:ext cx="84706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800" b="1" i="0" u="none" strike="noStrike" kern="1200" cap="none" spc="10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KLER</a:t>
            </a:r>
          </a:p>
        </p:txBody>
      </p:sp>
      <p:grpSp>
        <p:nvGrpSpPr>
          <p:cNvPr id="373" name="Group 372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374" name="Rectangle 373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5" name="Rectangle 374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6" name="Freeform 375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377" name="Group 376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378" name="Freeform 377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379" name="Picture 378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45857" y="4598807"/>
                <a:ext cx="1282530" cy="797672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4027273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0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00" fill="hold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6" presetClass="emp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22" dur="1000" fill="hold"/>
                                        <p:tgtEl>
                                          <p:spTgt spid="371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7" grpId="0" animBg="1"/>
      <p:bldP spid="369" grpId="0" animBg="1"/>
      <p:bldP spid="370" grpId="0" animBg="1"/>
      <p:bldP spid="371" grpId="0"/>
      <p:bldP spid="371" grpId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  <p:grpSp>
        <p:nvGrpSpPr>
          <p:cNvPr id="8" name="Group 7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9" name="Rectangle 8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734" y="5647129"/>
            <a:ext cx="1156850" cy="72000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/>
        </p:nvSpPr>
        <p:spPr>
          <a:xfrm>
            <a:off x="646458" y="476228"/>
            <a:ext cx="5799408" cy="461665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600" normalizeH="0" baseline="0" noProof="0" dirty="0" smtClean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WAP REESKONT KREDİSİ</a:t>
            </a:r>
            <a:endParaRPr kumimoji="0" lang="tr-TR" sz="2400" b="1" i="0" u="none" strike="noStrike" kern="1200" cap="none" spc="600" normalizeH="0" baseline="0" noProof="0" dirty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>
            <a:spLocks noChangeAspect="1"/>
          </p:cNvSpPr>
          <p:nvPr/>
        </p:nvSpPr>
        <p:spPr>
          <a:xfrm>
            <a:off x="900000" y="1440000"/>
            <a:ext cx="97200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Yerel para birimleri ile ticaretin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esteklenmesi amacıyla</a:t>
            </a:r>
            <a:r>
              <a:rPr kumimoji="0" lang="tr-TR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Çin Halk Cumhuriyeti, Kore Cumhuriyeti, Birleşik Arap Emirlikleri ve Katar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rasında yapılan anlaşma ile </a:t>
            </a:r>
          </a:p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022 yılında uygulamaya alınmıştır.</a:t>
            </a:r>
          </a:p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Söz konusu ülkelerden yapılacak olan 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thalatın finansmanı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çin (CNY fatura veya CNY akreditif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hracat taahhüdüne dayalı 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zami </a:t>
            </a:r>
            <a:r>
              <a:rPr kumimoji="0" lang="tr-TR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36o 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gün vadeli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kullandırılır.</a:t>
            </a:r>
          </a:p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7875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9425" y="1697158"/>
            <a:ext cx="1101725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Garamond" panose="02020404030301010803" pitchFamily="18" charset="0"/>
              </a:rPr>
              <a:t>Türk Eximbank, sağladığı desteklerin ülkemiz ihracatına en büyük </a:t>
            </a: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Garamond" panose="02020404030301010803" pitchFamily="18" charset="0"/>
              </a:rPr>
              <a:t>sürdürülebilir marjinal katkı</a:t>
            </a: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Garamond" panose="02020404030301010803" pitchFamily="18" charset="0"/>
              </a:rPr>
              <a:t>yı sağlamasını amaçlamaktadır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Garamond" panose="02020404030301010803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Garamond" panose="02020404030301010803" pitchFamily="18" charset="0"/>
              </a:rPr>
              <a:t>Türk Eximbank bu doğrultuda, bir puanlama modeli geliştirerek, </a:t>
            </a: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Garamond" panose="02020404030301010803" pitchFamily="18" charset="0"/>
              </a:rPr>
              <a:t>aldığı desteklerle ülkemiz ihracatına en çok katkı sağlayacak firmaları </a:t>
            </a: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Garamond" panose="02020404030301010803" pitchFamily="18" charset="0"/>
              </a:rPr>
              <a:t>belirleyerek</a:t>
            </a: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Garamond" panose="02020404030301010803" pitchFamily="18" charset="0"/>
              </a:rPr>
              <a:t> </a:t>
            </a: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Garamond" panose="02020404030301010803" pitchFamily="18" charset="0"/>
              </a:rPr>
              <a:t>desteklerini bu firmalar üzerinde yoğunlaştırmaktadır.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aramond" panose="02020404030301010803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79425" y="372081"/>
            <a:ext cx="8922635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spc="600" dirty="0">
                <a:solidFill>
                  <a:srgbClr val="A60933"/>
                </a:solidFill>
                <a:latin typeface="Calibri" panose="020F0502020204030204"/>
              </a:rPr>
              <a:t>İHRACATÇI POTANSİYEL DEĞERLENDİRM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22" name="Rectangle 21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589238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9425" y="2181501"/>
            <a:ext cx="1101725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ürk Eximbank, sağladığı desteklerin ülkemiz ihracatına en büyük </a:t>
            </a: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ürdürülebilir marjinal katkı</a:t>
            </a: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ı sağlamasını amaçlamaktadır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ürk Eximbank bu doğrultuda, bir puanlama modeli geliştirerek, </a:t>
            </a: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dığı desteklerle ülkemiz ihracatına en çok katkı sağlayacak firmaları </a:t>
            </a: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lirleyerek</a:t>
            </a: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teklerini bu firmalar üzerinde yoğunlaştırmaktadır.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33151" y="156243"/>
            <a:ext cx="1133124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0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ürk Eximbank İhracatçı Performans – Potansiyel Değerlendirme Modeli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5" name="Rectangle 4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9" name="Freeform 8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45857" y="4598807"/>
                <a:ext cx="1282530" cy="797672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33765972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33151" y="156243"/>
            <a:ext cx="1132047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0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çmiş İhracat Performansı ve İhracat Artış Potansiyeli Değerlendirmesi 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4173538" y="5262827"/>
            <a:ext cx="2916000" cy="0"/>
          </a:xfrm>
          <a:prstGeom prst="straightConnector1">
            <a:avLst/>
          </a:prstGeom>
          <a:grpFill/>
          <a:ln w="381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 flipV="1">
            <a:off x="4185978" y="2546064"/>
            <a:ext cx="0" cy="2723389"/>
          </a:xfrm>
          <a:prstGeom prst="straightConnector1">
            <a:avLst/>
          </a:prstGeom>
          <a:ln w="381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79425" y="1091904"/>
            <a:ext cx="11017250" cy="8803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ürk Eximbank ihracatçı firmaları geçmiş ihracat performansına göre ve geleceğe dönük sürdürülebilir katma değerli ihracat artışı sağlama potansiyeline göre değerlendirmektedir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333206" y="2580955"/>
            <a:ext cx="2924764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ansiyel Ekseni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Ülkemiz için yüksek katma değerli ve sürdürülebilir ihracat artışı sağlama potansiyeline sahip firmaları belirlemeyi hedeflemektedir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 boyutları: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hracat Artışı Sağlama Potansiyeli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tma Değer Artış Potansiyeli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zar Genişletme Potansiyeli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359864" y="3476843"/>
            <a:ext cx="3610433" cy="273921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ans Ekseni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lihazırda ülkemiz ihracatını taşıyan firmaları belirlemeyi hedeflemektedi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 boyutları: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hracat Performansı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hracat Odağı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tma Değer Performansı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zar Artışı Katkısı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9" name="Rectangle 8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16" name="Freeform 15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45857" y="4598807"/>
                <a:ext cx="1282530" cy="797672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0553640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33151" y="156243"/>
            <a:ext cx="291945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0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hracatçı Profilleri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630421" y="1856136"/>
          <a:ext cx="9666304" cy="4657868"/>
        </p:xfrm>
        <a:graphic>
          <a:graphicData uri="http://schemas.openxmlformats.org/drawingml/2006/table">
            <a:tbl>
              <a:tblPr/>
              <a:tblGrid>
                <a:gridCol w="1815498">
                  <a:extLst>
                    <a:ext uri="{9D8B030D-6E8A-4147-A177-3AD203B41FA5}">
                      <a16:colId xmlns:a16="http://schemas.microsoft.com/office/drawing/2014/main" val="3719047036"/>
                    </a:ext>
                  </a:extLst>
                </a:gridCol>
                <a:gridCol w="2453378">
                  <a:extLst>
                    <a:ext uri="{9D8B030D-6E8A-4147-A177-3AD203B41FA5}">
                      <a16:colId xmlns:a16="http://schemas.microsoft.com/office/drawing/2014/main" val="4066666146"/>
                    </a:ext>
                  </a:extLst>
                </a:gridCol>
                <a:gridCol w="2845917">
                  <a:extLst>
                    <a:ext uri="{9D8B030D-6E8A-4147-A177-3AD203B41FA5}">
                      <a16:colId xmlns:a16="http://schemas.microsoft.com/office/drawing/2014/main" val="2879128850"/>
                    </a:ext>
                  </a:extLst>
                </a:gridCol>
                <a:gridCol w="2551511">
                  <a:extLst>
                    <a:ext uri="{9D8B030D-6E8A-4147-A177-3AD203B41FA5}">
                      <a16:colId xmlns:a16="http://schemas.microsoft.com/office/drawing/2014/main" val="2378004044"/>
                    </a:ext>
                  </a:extLst>
                </a:gridCol>
              </a:tblGrid>
              <a:tr h="1318358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üksek Potansiye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Yüksek Potansiyel</a:t>
                      </a:r>
                      <a:r>
                        <a:rPr lang="tr-TR" sz="11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tr-T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üşük Performans: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Desteklenerek Potansiyeli Performansa Dönüştürmesi</a:t>
                      </a:r>
                      <a:r>
                        <a:rPr lang="tr-TR" sz="1400" b="0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 Beklenen İhracatçılar</a:t>
                      </a:r>
                    </a:p>
                    <a:p>
                      <a:pPr algn="ctr" fontAlgn="ctr"/>
                      <a:endParaRPr lang="tr-TR" sz="1400" b="0" i="0" u="none" strike="noStrike" baseline="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tr-TR" sz="14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Yakın Takip Gerektirmektedir.</a:t>
                      </a:r>
                    </a:p>
                  </a:txBody>
                  <a:tcPr marL="72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Yüksek Potansiyel Ortalama Performans</a:t>
                      </a:r>
                    </a:p>
                  </a:txBody>
                  <a:tcPr marL="72000" marR="36000" marT="36000" marB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Yüksek Potansiyel Yüksek Performans :</a:t>
                      </a:r>
                    </a:p>
                    <a:p>
                      <a:pPr algn="ctr" fontAlgn="ctr"/>
                      <a:endParaRPr lang="tr-TR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tr-TR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tr-TR" sz="2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İhracatın Yıldızları</a:t>
                      </a:r>
                    </a:p>
                  </a:txBody>
                  <a:tcPr marL="72000" marR="36000" marT="36000" marB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148249"/>
                  </a:ext>
                </a:extLst>
              </a:tr>
              <a:tr h="1327939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talama Potansiye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rtalama Potansiyel Düşük Performans</a:t>
                      </a:r>
                    </a:p>
                    <a:p>
                      <a:pPr algn="ctr" fontAlgn="ctr"/>
                      <a:endParaRPr lang="tr-TR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rtalama Potansiyel Ortalama Performans: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r-TR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tr-TR" sz="1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Ülkemiz Ana İhracatçı Kümesi</a:t>
                      </a:r>
                    </a:p>
                    <a:p>
                      <a:pPr algn="ctr" fontAlgn="ctr"/>
                      <a:endParaRPr lang="tr-TR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36000" marT="36000" marB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rtalama Potansiyel Yüksek Performans</a:t>
                      </a:r>
                    </a:p>
                  </a:txBody>
                  <a:tcPr marL="72000" marR="36000" marT="36000" marB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754916"/>
                  </a:ext>
                </a:extLst>
              </a:tr>
              <a:tr h="1324673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üşük Potansiye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rtalama Potansiyel Düşük Performans:</a:t>
                      </a:r>
                    </a:p>
                    <a:p>
                      <a:pPr algn="ctr" fontAlgn="ctr"/>
                      <a:endParaRPr lang="tr-TR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Ülkemiz ihracatına önemli olumlu katkısı olmayan ihracatçılar</a:t>
                      </a:r>
                    </a:p>
                  </a:txBody>
                  <a:tcPr marL="72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6D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üşük Potansiyel Ortalama Performans</a:t>
                      </a:r>
                    </a:p>
                    <a:p>
                      <a:pPr algn="ctr" fontAlgn="ctr"/>
                      <a:endParaRPr lang="tr-TR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36000" marT="36000" marB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üşük Potansiyel Yüksek Performans :</a:t>
                      </a:r>
                    </a:p>
                    <a:p>
                      <a:pPr algn="ctr" fontAlgn="ctr"/>
                      <a:endParaRPr lang="tr-TR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Ülkemiz İhracatına Önemli Katkıları Vardır.</a:t>
                      </a:r>
                    </a:p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Yüksek Potansiyelli</a:t>
                      </a:r>
                      <a:r>
                        <a:rPr lang="tr-TR" sz="14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 İhracata Yönlendirme Gerekmektedir</a:t>
                      </a:r>
                      <a:r>
                        <a:rPr lang="tr-TR" sz="1400" b="0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endParaRPr lang="tr-TR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36000" marT="36000" marB="36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847724"/>
                  </a:ext>
                </a:extLst>
              </a:tr>
              <a:tr h="265588">
                <a:tc>
                  <a:txBody>
                    <a:bodyPr/>
                    <a:lstStyle/>
                    <a:p>
                      <a:pPr algn="ctr" fontAlgn="ctr"/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6441920"/>
                  </a:ext>
                </a:extLst>
              </a:tr>
              <a:tr h="265588">
                <a:tc>
                  <a:txBody>
                    <a:bodyPr/>
                    <a:lstStyle/>
                    <a:p>
                      <a:pPr algn="ctr" fontAlgn="ctr"/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üşük Performan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talama Performan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üksek Performan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6169688"/>
                  </a:ext>
                </a:extLst>
              </a:tr>
            </a:tbl>
          </a:graphicData>
        </a:graphic>
      </p:graphicFrame>
      <p:cxnSp>
        <p:nvCxnSpPr>
          <p:cNvPr id="9" name="Straight Arrow Connector 8"/>
          <p:cNvCxnSpPr/>
          <p:nvPr/>
        </p:nvCxnSpPr>
        <p:spPr>
          <a:xfrm>
            <a:off x="2369467" y="6080676"/>
            <a:ext cx="8100000" cy="0"/>
          </a:xfrm>
          <a:prstGeom prst="straightConnector1">
            <a:avLst/>
          </a:prstGeom>
          <a:grpFill/>
          <a:ln w="381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 flipV="1">
            <a:off x="2369467" y="1872503"/>
            <a:ext cx="0" cy="4212000"/>
          </a:xfrm>
          <a:prstGeom prst="straightConnector1">
            <a:avLst/>
          </a:prstGeom>
          <a:ln w="381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85738" y="1091904"/>
            <a:ext cx="11150947" cy="38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hracatçılar performans ve potansiyel değerlendirmelerine göre bir profile yerleştirilmektedir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3871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83323" y="1280410"/>
          <a:ext cx="11018522" cy="4708911"/>
        </p:xfrm>
        <a:graphic>
          <a:graphicData uri="http://schemas.openxmlformats.org/drawingml/2006/table">
            <a:tbl>
              <a:tblPr/>
              <a:tblGrid>
                <a:gridCol w="2304729">
                  <a:extLst>
                    <a:ext uri="{9D8B030D-6E8A-4147-A177-3AD203B41FA5}">
                      <a16:colId xmlns:a16="http://schemas.microsoft.com/office/drawing/2014/main" val="3434486099"/>
                    </a:ext>
                  </a:extLst>
                </a:gridCol>
                <a:gridCol w="426319">
                  <a:extLst>
                    <a:ext uri="{9D8B030D-6E8A-4147-A177-3AD203B41FA5}">
                      <a16:colId xmlns:a16="http://schemas.microsoft.com/office/drawing/2014/main" val="3446013995"/>
                    </a:ext>
                  </a:extLst>
                </a:gridCol>
                <a:gridCol w="3029675">
                  <a:extLst>
                    <a:ext uri="{9D8B030D-6E8A-4147-A177-3AD203B41FA5}">
                      <a16:colId xmlns:a16="http://schemas.microsoft.com/office/drawing/2014/main" val="2193257050"/>
                    </a:ext>
                  </a:extLst>
                </a:gridCol>
                <a:gridCol w="5257799">
                  <a:extLst>
                    <a:ext uri="{9D8B030D-6E8A-4147-A177-3AD203B41FA5}">
                      <a16:colId xmlns:a16="http://schemas.microsoft.com/office/drawing/2014/main" val="801360742"/>
                    </a:ext>
                  </a:extLst>
                </a:gridCol>
              </a:tblGrid>
              <a:tr h="698811"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Boyu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3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Sır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3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Ölçü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3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Açıklam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003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0936358"/>
                  </a:ext>
                </a:extLst>
              </a:tr>
              <a:tr h="698811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hracat Odağı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 3 Yıl Ortalama İhracat Odağı</a:t>
                      </a:r>
                    </a:p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Dolaylı İhracat Dahil)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rmanın</a:t>
                      </a:r>
                      <a:r>
                        <a:rPr lang="tr-TR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</a:t>
                      </a:r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lam</a:t>
                      </a:r>
                      <a:r>
                        <a:rPr lang="tr-TR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atışlarının içinde ihracatın oranı.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4152534"/>
                  </a:ext>
                </a:extLst>
              </a:tr>
              <a:tr h="698811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hracat Performansı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hracat Hacmi (Dolaylı İhracat Dahil)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 mali yıldaki doğrudan ve dolaylı ihracat tutarı.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3645845"/>
                  </a:ext>
                </a:extLst>
              </a:tr>
              <a:tr h="698811"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tr-T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tma Değer Performansı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 2 Yıl Ortalama Katma Değer Oranı (Dolaylı İthalat Dahil)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rmanın</a:t>
                      </a:r>
                      <a:r>
                        <a:rPr lang="tr-TR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atışları içerisindeki yerli katma değer oranı. 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466463"/>
                  </a:ext>
                </a:extLst>
              </a:tr>
              <a:tr h="5160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D/KG oranı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rmanın son mali yıldaki ihracatının ortalama USD/KG tutarı.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6904842"/>
                  </a:ext>
                </a:extLst>
              </a:tr>
              <a:tr h="6988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ğırlıklı ürün karmaşıklığı endeksi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Firmanın ihracat sepetindeki ürünlerin karmaşıklık endeksi, sepetteki oranlarıyla </a:t>
                      </a:r>
                      <a:r>
                        <a:rPr lang="tr-T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ğırlıklandırılarak</a:t>
                      </a:r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hesaplanır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3713306"/>
                  </a:ext>
                </a:extLst>
              </a:tr>
              <a:tr h="698811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zar Artışı Katkısı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hracat Pazar Çeşitliliği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Son mali yılda ihracat yapılan ülke sayısı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623489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33151" y="156243"/>
            <a:ext cx="466371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ans Puanı Bileşenleri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8" name="Rectangle 7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12" name="Freeform 11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45857" y="4598807"/>
                <a:ext cx="1282530" cy="797672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2815437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79425" y="1268417"/>
          <a:ext cx="11017250" cy="4840108"/>
        </p:xfrm>
        <a:graphic>
          <a:graphicData uri="http://schemas.openxmlformats.org/drawingml/2006/table">
            <a:tbl>
              <a:tblPr/>
              <a:tblGrid>
                <a:gridCol w="2304464">
                  <a:extLst>
                    <a:ext uri="{9D8B030D-6E8A-4147-A177-3AD203B41FA5}">
                      <a16:colId xmlns:a16="http://schemas.microsoft.com/office/drawing/2014/main" val="3610266682"/>
                    </a:ext>
                  </a:extLst>
                </a:gridCol>
                <a:gridCol w="426268">
                  <a:extLst>
                    <a:ext uri="{9D8B030D-6E8A-4147-A177-3AD203B41FA5}">
                      <a16:colId xmlns:a16="http://schemas.microsoft.com/office/drawing/2014/main" val="2561786859"/>
                    </a:ext>
                  </a:extLst>
                </a:gridCol>
                <a:gridCol w="3205633">
                  <a:extLst>
                    <a:ext uri="{9D8B030D-6E8A-4147-A177-3AD203B41FA5}">
                      <a16:colId xmlns:a16="http://schemas.microsoft.com/office/drawing/2014/main" val="3520489783"/>
                    </a:ext>
                  </a:extLst>
                </a:gridCol>
                <a:gridCol w="5080885">
                  <a:extLst>
                    <a:ext uri="{9D8B030D-6E8A-4147-A177-3AD203B41FA5}">
                      <a16:colId xmlns:a16="http://schemas.microsoft.com/office/drawing/2014/main" val="1792423498"/>
                    </a:ext>
                  </a:extLst>
                </a:gridCol>
              </a:tblGrid>
              <a:tr h="524051"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Ölçtüğü Boyu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Sır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Ölçüt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Open Sans"/>
                        </a:rPr>
                        <a:t>Notla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265925"/>
                  </a:ext>
                </a:extLst>
              </a:tr>
              <a:tr h="524051"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hracat Artışı Sağlama Potansiyeli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hracat Odağı Artışı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rmanın</a:t>
                      </a:r>
                      <a:r>
                        <a:rPr lang="tr-TR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</a:t>
                      </a:r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lam</a:t>
                      </a:r>
                      <a:r>
                        <a:rPr lang="tr-TR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atışlarının içinde ihracatın oranının son üç yıldaki değişimi.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70963"/>
                  </a:ext>
                </a:extLst>
              </a:tr>
              <a:tr h="5240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ktör Küresel Büyüme Beklentisi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rmanın içinde bulunduğu sektörün küresel büyüme beklentisi. 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858984"/>
                  </a:ext>
                </a:extLst>
              </a:tr>
              <a:tr h="5240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rmanın İhracat Büyüme Trendi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 üç mali yıldaki ortalama doğrudan ve dolaylı ihracat tutarı büyüme oranı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574339"/>
                  </a:ext>
                </a:extLst>
              </a:tr>
              <a:tr h="524051"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tr-T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tma Değer Artış Potansiyeli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 üç yılda USD/KG artış trendi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rmanın son üç mali yılda toplam ihracatının ortalama </a:t>
                      </a:r>
                      <a:r>
                        <a:rPr lang="tr-T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sd</a:t>
                      </a:r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kg tutarının ortalama artışı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5570091"/>
                  </a:ext>
                </a:extLst>
              </a:tr>
              <a:tr h="5240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 2 Yılda Yüksek Teknolojili ya da Öncelikli Ürün İhracatı var mı?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 iki yıldaki ihracat sepetinde yüksek teknolojili ürün ya da Sanayi ve Teknoloji Bakanlığı tarafından</a:t>
                      </a:r>
                      <a:r>
                        <a:rPr lang="tr-TR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öncelikli olarak belirlenen ürün</a:t>
                      </a:r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ar mı?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050240"/>
                  </a:ext>
                </a:extLst>
              </a:tr>
              <a:tr h="5240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ğırlıklı ürün karmaşıklığı endeksi gelişimi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rmanın</a:t>
                      </a:r>
                      <a:r>
                        <a:rPr lang="tr-TR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hracat sepetindeki ürünlerin karmaşıklığının son üç yıldaki gelişimi.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111799"/>
                  </a:ext>
                </a:extLst>
              </a:tr>
              <a:tr h="524051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zar Genişletme Potansiyeli</a:t>
                      </a:r>
                    </a:p>
                  </a:txBody>
                  <a:tcPr marL="7200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hracat Pazar Genişlemesi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n üç mali yılda ihracat yapılan ülke sayısındaki değişim trendi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6912652"/>
                  </a:ext>
                </a:extLst>
              </a:tr>
              <a:tr h="5240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likli ülkelere ihracat oranı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rmanın öncelikli ülkelere yaptığı ihracatının toplam ihracatına oranı (Ticaret Bakanlığı İhracat Ana Planı Önceliği, Uzak Ülkeler)</a:t>
                      </a:r>
                    </a:p>
                  </a:txBody>
                  <a:tcPr marL="7200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0294791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33151" y="156243"/>
            <a:ext cx="444762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ansiyel Puanı Bileşenleri</a:t>
            </a:r>
          </a:p>
        </p:txBody>
      </p:sp>
    </p:spTree>
    <p:extLst>
      <p:ext uri="{BB962C8B-B14F-4D97-AF65-F5344CB8AC3E}">
        <p14:creationId xmlns:p14="http://schemas.microsoft.com/office/powerpoint/2010/main" val="698776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/>
          <p:cNvGrpSpPr/>
          <p:nvPr/>
        </p:nvGrpSpPr>
        <p:grpSpPr>
          <a:xfrm>
            <a:off x="265158" y="301315"/>
            <a:ext cx="11580702" cy="6377777"/>
            <a:chOff x="773580" y="458607"/>
            <a:chExt cx="11580702" cy="6377777"/>
          </a:xfrm>
        </p:grpSpPr>
        <p:grpSp>
          <p:nvGrpSpPr>
            <p:cNvPr id="42" name="Group 41"/>
            <p:cNvGrpSpPr/>
            <p:nvPr/>
          </p:nvGrpSpPr>
          <p:grpSpPr>
            <a:xfrm>
              <a:off x="789161" y="5965743"/>
              <a:ext cx="1584698" cy="754359"/>
              <a:chOff x="10308676" y="6094127"/>
              <a:chExt cx="1584698" cy="754359"/>
            </a:xfrm>
          </p:grpSpPr>
          <p:grpSp>
            <p:nvGrpSpPr>
              <p:cNvPr id="233" name="Group 232"/>
              <p:cNvGrpSpPr/>
              <p:nvPr/>
            </p:nvGrpSpPr>
            <p:grpSpPr>
              <a:xfrm>
                <a:off x="10340879" y="6156964"/>
                <a:ext cx="1552495" cy="587472"/>
                <a:chOff x="12646632" y="5910028"/>
                <a:chExt cx="1743353" cy="591717"/>
              </a:xfrm>
            </p:grpSpPr>
            <p:pic>
              <p:nvPicPr>
                <p:cNvPr id="68" name="Picture 67"/>
                <p:cNvPicPr>
                  <a:picLocks noChangeAspect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87511" r="96669" b="-199"/>
                <a:stretch/>
              </p:blipFill>
              <p:spPr>
                <a:xfrm>
                  <a:off x="12646632" y="5924222"/>
                  <a:ext cx="427748" cy="577523"/>
                </a:xfrm>
                <a:prstGeom prst="rect">
                  <a:avLst/>
                </a:prstGeom>
              </p:spPr>
            </p:pic>
            <p:sp>
              <p:nvSpPr>
                <p:cNvPr id="228" name="TextBox 227"/>
                <p:cNvSpPr txBox="1"/>
                <p:nvPr/>
              </p:nvSpPr>
              <p:spPr>
                <a:xfrm>
                  <a:off x="12955016" y="5910028"/>
                  <a:ext cx="1434969" cy="58125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E7E6E6">
                        <a:lumMod val="10000"/>
                      </a:srgbClr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tr-T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rPr>
                    <a:t>Ege Bölge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E7E6E6">
                        <a:lumMod val="10000"/>
                      </a:srgbClr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tr-T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rPr>
                    <a:t>İç Anadolu Bölge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E7E6E6">
                        <a:lumMod val="10000"/>
                      </a:srgbClr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tr-T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rPr>
                    <a:t>Marmara Bölge</a:t>
                  </a:r>
                </a:p>
              </p:txBody>
            </p:sp>
          </p:grpSp>
          <p:sp>
            <p:nvSpPr>
              <p:cNvPr id="34" name="Rectangle 33"/>
              <p:cNvSpPr/>
              <p:nvPr/>
            </p:nvSpPr>
            <p:spPr>
              <a:xfrm>
                <a:off x="10308676" y="6094127"/>
                <a:ext cx="1432523" cy="754359"/>
              </a:xfrm>
              <a:prstGeom prst="rect">
                <a:avLst/>
              </a:prstGeom>
              <a:noFill/>
              <a:ln>
                <a:solidFill>
                  <a:srgbClr val="520A1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87" name="Picture 8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6" t="16447" b="20878"/>
            <a:stretch/>
          </p:blipFill>
          <p:spPr>
            <a:xfrm>
              <a:off x="2582429" y="2137777"/>
              <a:ext cx="9126083" cy="4000500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57" name="TextBox 56"/>
            <p:cNvSpPr txBox="1"/>
            <p:nvPr/>
          </p:nvSpPr>
          <p:spPr>
            <a:xfrm>
              <a:off x="2295105" y="4714714"/>
              <a:ext cx="92457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zmir Şube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3539493" y="5079533"/>
              <a:ext cx="960098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Denizli Şube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4491587" y="5552891"/>
              <a:ext cx="1033722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Antalya Şube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540260" y="5306207"/>
              <a:ext cx="1030623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Adana Şube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457970" y="4410378"/>
              <a:ext cx="1014913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Manisa Şube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5591380" y="5796611"/>
              <a:ext cx="1037388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Mersin Şube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112180" y="5708385"/>
              <a:ext cx="1257372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skenderun Şube</a:t>
              </a:r>
            </a:p>
          </p:txBody>
        </p:sp>
        <p:cxnSp>
          <p:nvCxnSpPr>
            <p:cNvPr id="64" name="Straight Connector 63"/>
            <p:cNvCxnSpPr/>
            <p:nvPr/>
          </p:nvCxnSpPr>
          <p:spPr>
            <a:xfrm>
              <a:off x="7509269" y="5680108"/>
              <a:ext cx="134551" cy="68608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 flipH="1">
              <a:off x="7198148" y="5352346"/>
              <a:ext cx="3906" cy="1670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61" name="TextBox 260"/>
            <p:cNvSpPr txBox="1"/>
            <p:nvPr/>
          </p:nvSpPr>
          <p:spPr>
            <a:xfrm>
              <a:off x="3704585" y="1409032"/>
              <a:ext cx="1238374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tr-T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 sz="1050" spc="300">
                  <a:solidFill>
                    <a:prstClr val="black"/>
                  </a:solidFill>
                  <a:latin typeface="Georgia" panose="02040502050405020303" pitchFamily="18" charset="0"/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st. Merkez Şube</a:t>
              </a:r>
            </a:p>
          </p:txBody>
        </p:sp>
        <p:sp>
          <p:nvSpPr>
            <p:cNvPr id="266" name="TextBox 265"/>
            <p:cNvSpPr txBox="1"/>
            <p:nvPr/>
          </p:nvSpPr>
          <p:spPr>
            <a:xfrm>
              <a:off x="1855684" y="2996129"/>
              <a:ext cx="815307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Çorlu Şube</a:t>
              </a:r>
            </a:p>
          </p:txBody>
        </p:sp>
        <p:sp>
          <p:nvSpPr>
            <p:cNvPr id="268" name="TextBox 267"/>
            <p:cNvSpPr txBox="1"/>
            <p:nvPr/>
          </p:nvSpPr>
          <p:spPr>
            <a:xfrm>
              <a:off x="3766857" y="3606856"/>
              <a:ext cx="865603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Bursa Şube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endParaRPr kumimoji="0" lang="tr-T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99" name="TextBox 298"/>
            <p:cNvSpPr txBox="1"/>
            <p:nvPr/>
          </p:nvSpPr>
          <p:spPr>
            <a:xfrm>
              <a:off x="7848284" y="5585274"/>
              <a:ext cx="1127212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Gaziantep Şube</a:t>
              </a:r>
            </a:p>
          </p:txBody>
        </p:sp>
        <p:sp>
          <p:nvSpPr>
            <p:cNvPr id="300" name="TextBox 299"/>
            <p:cNvSpPr txBox="1"/>
            <p:nvPr/>
          </p:nvSpPr>
          <p:spPr>
            <a:xfrm>
              <a:off x="5295804" y="4956491"/>
              <a:ext cx="1051929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Konya Şube</a:t>
              </a:r>
            </a:p>
          </p:txBody>
        </p:sp>
        <p:sp>
          <p:nvSpPr>
            <p:cNvPr id="301" name="TextBox 300"/>
            <p:cNvSpPr txBox="1"/>
            <p:nvPr/>
          </p:nvSpPr>
          <p:spPr>
            <a:xfrm>
              <a:off x="7583106" y="4969420"/>
              <a:ext cx="1530640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Kahramanmaraş Şube</a:t>
              </a:r>
            </a:p>
          </p:txBody>
        </p:sp>
        <p:sp>
          <p:nvSpPr>
            <p:cNvPr id="295" name="TextBox 294"/>
            <p:cNvSpPr txBox="1"/>
            <p:nvPr/>
          </p:nvSpPr>
          <p:spPr>
            <a:xfrm>
              <a:off x="4572857" y="3910086"/>
              <a:ext cx="1065605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Eskişehir Şube</a:t>
              </a:r>
            </a:p>
          </p:txBody>
        </p:sp>
        <p:cxnSp>
          <p:nvCxnSpPr>
            <p:cNvPr id="303" name="Straight Connector 302"/>
            <p:cNvCxnSpPr/>
            <p:nvPr/>
          </p:nvCxnSpPr>
          <p:spPr>
            <a:xfrm flipH="1">
              <a:off x="5687289" y="5537472"/>
              <a:ext cx="60159" cy="928562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4" name="Straight Connector 303"/>
            <p:cNvCxnSpPr/>
            <p:nvPr/>
          </p:nvCxnSpPr>
          <p:spPr>
            <a:xfrm flipH="1">
              <a:off x="4786195" y="5997115"/>
              <a:ext cx="4915" cy="839269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2" name="TextBox 301"/>
            <p:cNvSpPr txBox="1"/>
            <p:nvPr/>
          </p:nvSpPr>
          <p:spPr>
            <a:xfrm>
              <a:off x="9113746" y="4690574"/>
              <a:ext cx="1525412" cy="2644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numCol="2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Diyarbakır Şube</a:t>
              </a:r>
            </a:p>
          </p:txBody>
        </p:sp>
        <p:sp>
          <p:nvSpPr>
            <p:cNvPr id="298" name="TextBox 297"/>
            <p:cNvSpPr txBox="1"/>
            <p:nvPr/>
          </p:nvSpPr>
          <p:spPr>
            <a:xfrm>
              <a:off x="5533213" y="3669099"/>
              <a:ext cx="1171222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Ankara Şube</a:t>
              </a:r>
            </a:p>
          </p:txBody>
        </p:sp>
        <p:sp>
          <p:nvSpPr>
            <p:cNvPr id="296" name="TextBox 295"/>
            <p:cNvSpPr txBox="1"/>
            <p:nvPr/>
          </p:nvSpPr>
          <p:spPr>
            <a:xfrm>
              <a:off x="6832533" y="4514752"/>
              <a:ext cx="1028617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tr-TR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 kumimoji="0" sz="1050" i="0" strike="noStrike" cap="none" spc="30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Kayseri Şube</a:t>
              </a:r>
            </a:p>
          </p:txBody>
        </p:sp>
        <p:sp>
          <p:nvSpPr>
            <p:cNvPr id="297" name="TextBox 296"/>
            <p:cNvSpPr txBox="1"/>
            <p:nvPr/>
          </p:nvSpPr>
          <p:spPr>
            <a:xfrm>
              <a:off x="8665688" y="3095727"/>
              <a:ext cx="1341383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Trabzon Şube</a:t>
              </a:r>
            </a:p>
          </p:txBody>
        </p:sp>
        <p:sp>
          <p:nvSpPr>
            <p:cNvPr id="263" name="TextBox 262"/>
            <p:cNvSpPr txBox="1"/>
            <p:nvPr/>
          </p:nvSpPr>
          <p:spPr>
            <a:xfrm>
              <a:off x="5444626" y="1123197"/>
              <a:ext cx="874508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Gebze</a:t>
              </a:r>
              <a:r>
                <a:rPr kumimoji="0" lang="tr-TR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Şube</a:t>
              </a:r>
            </a:p>
          </p:txBody>
        </p:sp>
        <p:sp>
          <p:nvSpPr>
            <p:cNvPr id="267" name="TextBox 266"/>
            <p:cNvSpPr txBox="1"/>
            <p:nvPr/>
          </p:nvSpPr>
          <p:spPr>
            <a:xfrm>
              <a:off x="4822655" y="1950336"/>
              <a:ext cx="1649544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tr-TR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 kumimoji="0" sz="1050" i="0" strike="noStrike" cap="none" spc="30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eorgia" panose="02040502050405020303" pitchFamily="18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st. Maltepe Şube</a:t>
              </a:r>
            </a:p>
          </p:txBody>
        </p:sp>
        <p:sp>
          <p:nvSpPr>
            <p:cNvPr id="269" name="TextBox 268"/>
            <p:cNvSpPr txBox="1"/>
            <p:nvPr/>
          </p:nvSpPr>
          <p:spPr>
            <a:xfrm>
              <a:off x="773580" y="2662251"/>
              <a:ext cx="1202905" cy="4308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st. İkitelli OSB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Şube</a:t>
              </a:r>
            </a:p>
          </p:txBody>
        </p:sp>
        <p:cxnSp>
          <p:nvCxnSpPr>
            <p:cNvPr id="259" name="Straight Connector 258"/>
            <p:cNvCxnSpPr/>
            <p:nvPr/>
          </p:nvCxnSpPr>
          <p:spPr>
            <a:xfrm>
              <a:off x="9005151" y="3151320"/>
              <a:ext cx="108595" cy="2297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/>
          </p:nvCxnSpPr>
          <p:spPr>
            <a:xfrm>
              <a:off x="5821805" y="3686319"/>
              <a:ext cx="174305" cy="7394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>
              <a:off x="7264956" y="4505091"/>
              <a:ext cx="134841" cy="10020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4966352" y="3932361"/>
              <a:ext cx="111221" cy="39698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 flipV="1">
              <a:off x="4201609" y="1630621"/>
              <a:ext cx="138874" cy="156188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/>
          </p:nvCxnSpPr>
          <p:spPr>
            <a:xfrm flipV="1">
              <a:off x="4199635" y="1335674"/>
              <a:ext cx="1316901" cy="164794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/>
            <p:nvPr/>
          </p:nvCxnSpPr>
          <p:spPr>
            <a:xfrm flipV="1">
              <a:off x="4194599" y="2169930"/>
              <a:ext cx="1321937" cy="82742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 flipH="1" flipV="1">
              <a:off x="3643110" y="1886677"/>
              <a:ext cx="419454" cy="1046685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/>
          </p:nvCxnSpPr>
          <p:spPr>
            <a:xfrm flipH="1" flipV="1">
              <a:off x="2126221" y="2029779"/>
              <a:ext cx="1944430" cy="91046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/>
            <p:cNvCxnSpPr/>
            <p:nvPr/>
          </p:nvCxnSpPr>
          <p:spPr>
            <a:xfrm flipH="1" flipV="1">
              <a:off x="1898855" y="2853696"/>
              <a:ext cx="2163705" cy="9768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/>
          </p:nvCxnSpPr>
          <p:spPr>
            <a:xfrm flipH="1">
              <a:off x="2582429" y="3042366"/>
              <a:ext cx="682876" cy="13697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/>
            <p:cNvCxnSpPr/>
            <p:nvPr/>
          </p:nvCxnSpPr>
          <p:spPr>
            <a:xfrm flipH="1" flipV="1">
              <a:off x="9336380" y="4676061"/>
              <a:ext cx="255684" cy="77306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/>
          </p:nvCxnSpPr>
          <p:spPr>
            <a:xfrm>
              <a:off x="4033528" y="3632156"/>
              <a:ext cx="81385" cy="51648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/>
          </p:nvCxnSpPr>
          <p:spPr>
            <a:xfrm>
              <a:off x="3648309" y="4409814"/>
              <a:ext cx="118548" cy="4998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/>
            <p:cNvCxnSpPr/>
            <p:nvPr/>
          </p:nvCxnSpPr>
          <p:spPr>
            <a:xfrm flipV="1">
              <a:off x="3045559" y="4737689"/>
              <a:ext cx="187793" cy="6701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/>
          </p:nvCxnSpPr>
          <p:spPr>
            <a:xfrm flipV="1">
              <a:off x="3978550" y="5113330"/>
              <a:ext cx="118717" cy="2732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/>
          </p:nvCxnSpPr>
          <p:spPr>
            <a:xfrm flipH="1" flipV="1">
              <a:off x="5588345" y="4936842"/>
              <a:ext cx="159103" cy="9666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/>
          </p:nvCxnSpPr>
          <p:spPr>
            <a:xfrm flipV="1">
              <a:off x="4886992" y="5547937"/>
              <a:ext cx="2910" cy="8772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/>
            <p:cNvCxnSpPr/>
            <p:nvPr/>
          </p:nvCxnSpPr>
          <p:spPr>
            <a:xfrm flipV="1">
              <a:off x="6234268" y="5849096"/>
              <a:ext cx="60826" cy="19563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/>
            <p:cNvCxnSpPr/>
            <p:nvPr/>
          </p:nvCxnSpPr>
          <p:spPr>
            <a:xfrm>
              <a:off x="7912167" y="5613727"/>
              <a:ext cx="186381" cy="34994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/>
            <p:nvPr/>
          </p:nvCxnSpPr>
          <p:spPr>
            <a:xfrm>
              <a:off x="7774271" y="4977383"/>
              <a:ext cx="150955" cy="6730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TextBox 261"/>
            <p:cNvSpPr txBox="1"/>
            <p:nvPr/>
          </p:nvSpPr>
          <p:spPr>
            <a:xfrm>
              <a:off x="789161" y="1832550"/>
              <a:ext cx="1417251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st. </a:t>
              </a:r>
              <a:r>
                <a:rPr kumimoji="0" lang="tr-TR" sz="105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Odakule</a:t>
              </a: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Şube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724625" y="1655697"/>
              <a:ext cx="1321283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tr-T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 sz="1050" spc="300">
                  <a:solidFill>
                    <a:prstClr val="black"/>
                  </a:solidFill>
                  <a:latin typeface="Georgia" panose="02040502050405020303" pitchFamily="18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7E6E6">
                    <a:lumMod val="1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tr-T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İst. Avrupa Yakası Şube</a:t>
              </a:r>
            </a:p>
          </p:txBody>
        </p:sp>
        <p:sp>
          <p:nvSpPr>
            <p:cNvPr id="235" name="Round Diagonal Corner Rectangle 234"/>
            <p:cNvSpPr/>
            <p:nvPr/>
          </p:nvSpPr>
          <p:spPr>
            <a:xfrm>
              <a:off x="4071341" y="2649141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36" name="Picture 2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98202" y="2664640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37" name="Straight Connector 236"/>
            <p:cNvCxnSpPr/>
            <p:nvPr/>
          </p:nvCxnSpPr>
          <p:spPr>
            <a:xfrm flipH="1">
              <a:off x="4076056" y="2662079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39" name="Round Diagonal Corner Rectangle 238"/>
            <p:cNvSpPr/>
            <p:nvPr/>
          </p:nvSpPr>
          <p:spPr>
            <a:xfrm>
              <a:off x="4967976" y="3625773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40" name="Picture 23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4837" y="3641272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41" name="Straight Connector 240"/>
            <p:cNvCxnSpPr/>
            <p:nvPr/>
          </p:nvCxnSpPr>
          <p:spPr>
            <a:xfrm flipH="1">
              <a:off x="4972691" y="3638711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43" name="Round Diagonal Corner Rectangle 242"/>
            <p:cNvSpPr/>
            <p:nvPr/>
          </p:nvSpPr>
          <p:spPr>
            <a:xfrm>
              <a:off x="5821780" y="3379136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44" name="Picture 24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8641" y="3394635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45" name="Straight Connector 244"/>
            <p:cNvCxnSpPr/>
            <p:nvPr/>
          </p:nvCxnSpPr>
          <p:spPr>
            <a:xfrm flipH="1">
              <a:off x="5826495" y="3392074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47" name="Round Diagonal Corner Rectangle 246"/>
            <p:cNvSpPr/>
            <p:nvPr/>
          </p:nvSpPr>
          <p:spPr>
            <a:xfrm>
              <a:off x="7267337" y="4193740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48" name="Picture 24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94198" y="4209239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49" name="Straight Connector 248"/>
            <p:cNvCxnSpPr/>
            <p:nvPr/>
          </p:nvCxnSpPr>
          <p:spPr>
            <a:xfrm flipH="1">
              <a:off x="7272052" y="4206678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51" name="Round Diagonal Corner Rectangle 250"/>
            <p:cNvSpPr/>
            <p:nvPr/>
          </p:nvSpPr>
          <p:spPr>
            <a:xfrm>
              <a:off x="8995720" y="2841650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52" name="Picture 25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22581" y="2857149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53" name="Straight Connector 252"/>
            <p:cNvCxnSpPr/>
            <p:nvPr/>
          </p:nvCxnSpPr>
          <p:spPr>
            <a:xfrm flipH="1">
              <a:off x="9000435" y="2854588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55" name="Round Diagonal Corner Rectangle 254"/>
            <p:cNvSpPr/>
            <p:nvPr/>
          </p:nvSpPr>
          <p:spPr>
            <a:xfrm>
              <a:off x="9339633" y="4372315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56" name="Picture 25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66494" y="4387814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57" name="Straight Connector 256"/>
            <p:cNvCxnSpPr/>
            <p:nvPr/>
          </p:nvCxnSpPr>
          <p:spPr>
            <a:xfrm flipH="1">
              <a:off x="9344348" y="4385253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60" name="Round Diagonal Corner Rectangle 259"/>
            <p:cNvSpPr/>
            <p:nvPr/>
          </p:nvSpPr>
          <p:spPr>
            <a:xfrm>
              <a:off x="7777133" y="4675075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65" name="Picture 26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03994" y="4690574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70" name="Straight Connector 269"/>
            <p:cNvCxnSpPr/>
            <p:nvPr/>
          </p:nvCxnSpPr>
          <p:spPr>
            <a:xfrm flipH="1">
              <a:off x="7781848" y="4688013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72" name="Round Diagonal Corner Rectangle 271"/>
            <p:cNvSpPr/>
            <p:nvPr/>
          </p:nvSpPr>
          <p:spPr>
            <a:xfrm>
              <a:off x="3274034" y="2746904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73" name="Picture 27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0895" y="2762403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74" name="Straight Connector 273"/>
            <p:cNvCxnSpPr/>
            <p:nvPr/>
          </p:nvCxnSpPr>
          <p:spPr>
            <a:xfrm flipH="1">
              <a:off x="3278749" y="2759842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76" name="Round Diagonal Corner Rectangle 275"/>
            <p:cNvSpPr/>
            <p:nvPr/>
          </p:nvSpPr>
          <p:spPr>
            <a:xfrm>
              <a:off x="4088052" y="4808572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77" name="Picture 2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14913" y="4824071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78" name="Straight Connector 277"/>
            <p:cNvCxnSpPr/>
            <p:nvPr/>
          </p:nvCxnSpPr>
          <p:spPr>
            <a:xfrm flipH="1">
              <a:off x="4092767" y="4821510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80" name="Round Diagonal Corner Rectangle 279"/>
            <p:cNvSpPr/>
            <p:nvPr/>
          </p:nvSpPr>
          <p:spPr>
            <a:xfrm>
              <a:off x="3237114" y="4434018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81" name="Picture 28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63975" y="4449517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82" name="Straight Connector 281"/>
            <p:cNvCxnSpPr/>
            <p:nvPr/>
          </p:nvCxnSpPr>
          <p:spPr>
            <a:xfrm flipH="1">
              <a:off x="3241829" y="4446956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84" name="Round Diagonal Corner Rectangle 283"/>
            <p:cNvSpPr/>
            <p:nvPr/>
          </p:nvSpPr>
          <p:spPr>
            <a:xfrm>
              <a:off x="3634397" y="4107488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85" name="Picture 28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1258" y="4122987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86" name="Straight Connector 285"/>
            <p:cNvCxnSpPr/>
            <p:nvPr/>
          </p:nvCxnSpPr>
          <p:spPr>
            <a:xfrm flipH="1">
              <a:off x="3639112" y="4120426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88" name="Round Diagonal Corner Rectangle 287"/>
            <p:cNvSpPr/>
            <p:nvPr/>
          </p:nvSpPr>
          <p:spPr>
            <a:xfrm>
              <a:off x="4886992" y="5242946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89" name="Picture 28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3853" y="5258445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90" name="Straight Connector 289"/>
            <p:cNvCxnSpPr/>
            <p:nvPr/>
          </p:nvCxnSpPr>
          <p:spPr>
            <a:xfrm flipH="1">
              <a:off x="4891707" y="5255884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92" name="Round Diagonal Corner Rectangle 291"/>
            <p:cNvSpPr/>
            <p:nvPr/>
          </p:nvSpPr>
          <p:spPr>
            <a:xfrm>
              <a:off x="5583842" y="4635807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293" name="Picture 29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0703" y="4651306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294" name="Straight Connector 293"/>
            <p:cNvCxnSpPr/>
            <p:nvPr/>
          </p:nvCxnSpPr>
          <p:spPr>
            <a:xfrm flipH="1">
              <a:off x="5588557" y="4648745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06" name="Round Diagonal Corner Rectangle 305"/>
            <p:cNvSpPr/>
            <p:nvPr/>
          </p:nvSpPr>
          <p:spPr>
            <a:xfrm>
              <a:off x="6290092" y="5545776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307" name="Picture 30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6953" y="5561275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08" name="Straight Connector 307"/>
            <p:cNvCxnSpPr/>
            <p:nvPr/>
          </p:nvCxnSpPr>
          <p:spPr>
            <a:xfrm flipH="1">
              <a:off x="6294807" y="5558714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10" name="Round Diagonal Corner Rectangle 309"/>
            <p:cNvSpPr/>
            <p:nvPr/>
          </p:nvSpPr>
          <p:spPr>
            <a:xfrm>
              <a:off x="4019047" y="3326928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311" name="Picture 31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45908" y="3342427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12" name="Straight Connector 311"/>
            <p:cNvCxnSpPr/>
            <p:nvPr/>
          </p:nvCxnSpPr>
          <p:spPr>
            <a:xfrm flipH="1">
              <a:off x="4023762" y="3339866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22" name="Round Diagonal Corner Rectangle 321"/>
            <p:cNvSpPr/>
            <p:nvPr/>
          </p:nvSpPr>
          <p:spPr>
            <a:xfrm>
              <a:off x="7504174" y="5377018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323" name="Picture 32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1035" y="5392517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24" name="Straight Connector 323"/>
            <p:cNvCxnSpPr/>
            <p:nvPr/>
          </p:nvCxnSpPr>
          <p:spPr>
            <a:xfrm flipH="1">
              <a:off x="7508889" y="5389956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26" name="Round Diagonal Corner Rectangle 325"/>
            <p:cNvSpPr/>
            <p:nvPr/>
          </p:nvSpPr>
          <p:spPr>
            <a:xfrm>
              <a:off x="7080590" y="5059108"/>
              <a:ext cx="264920" cy="163085"/>
            </a:xfrm>
            <a:prstGeom prst="round2DiagRect">
              <a:avLst/>
            </a:prstGeom>
            <a:solidFill>
              <a:srgbClr val="B51633">
                <a:alpha val="84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327" name="Picture 32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0513" y="5074607"/>
              <a:ext cx="225570" cy="13242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328" name="Straight Connector 327"/>
            <p:cNvCxnSpPr/>
            <p:nvPr/>
          </p:nvCxnSpPr>
          <p:spPr>
            <a:xfrm flipH="1">
              <a:off x="7085305" y="5072046"/>
              <a:ext cx="1" cy="297007"/>
            </a:xfrm>
            <a:prstGeom prst="line">
              <a:avLst/>
            </a:prstGeom>
            <a:solidFill>
              <a:srgbClr val="B51633">
                <a:alpha val="23000"/>
              </a:srgbClr>
            </a:solidFill>
            <a:ln>
              <a:solidFill>
                <a:srgbClr val="520A18">
                  <a:alpha val="48000"/>
                </a:srgb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60" name="TextBox 159"/>
            <p:cNvSpPr txBox="1"/>
            <p:nvPr/>
          </p:nvSpPr>
          <p:spPr>
            <a:xfrm>
              <a:off x="6402430" y="458607"/>
              <a:ext cx="5951852" cy="1138773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0" i="0" u="none" strike="noStrike" kern="0" cap="none" spc="15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Ülke ihracatımızın </a:t>
              </a:r>
              <a:r>
                <a:rPr kumimoji="0" lang="tr-TR" sz="3200" b="0" i="0" u="none" strike="noStrike" kern="0" cap="none" spc="150" normalizeH="0" baseline="0" noProof="0" dirty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%94</a:t>
              </a:r>
              <a:r>
                <a:rPr kumimoji="0" lang="tr-TR" sz="1800" b="0" i="0" u="none" strike="noStrike" kern="0" cap="none" spc="15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’ü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800" b="0" i="0" u="none" strike="noStrike" kern="0" cap="none" spc="15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Türk Eximbank şubelerinin bulunduğu illerden gerçekleştirilmektedir.</a:t>
              </a:r>
            </a:p>
          </p:txBody>
        </p:sp>
      </p:grpSp>
      <p:sp>
        <p:nvSpPr>
          <p:cNvPr id="317" name="Rectangle 316"/>
          <p:cNvSpPr/>
          <p:nvPr/>
        </p:nvSpPr>
        <p:spPr>
          <a:xfrm>
            <a:off x="367931" y="358791"/>
            <a:ext cx="3570208" cy="523220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</a:t>
            </a:r>
            <a:r>
              <a:rPr kumimoji="0" lang="tr-TR" sz="24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NTERLANTIMIZ</a:t>
            </a:r>
          </a:p>
        </p:txBody>
      </p:sp>
      <p:sp>
        <p:nvSpPr>
          <p:cNvPr id="116" name="Round Diagonal Corner Rectangle 115"/>
          <p:cNvSpPr/>
          <p:nvPr/>
        </p:nvSpPr>
        <p:spPr>
          <a:xfrm>
            <a:off x="7409546" y="5164254"/>
            <a:ext cx="264920" cy="163085"/>
          </a:xfrm>
          <a:prstGeom prst="round2DiagRect">
            <a:avLst/>
          </a:prstGeom>
          <a:solidFill>
            <a:srgbClr val="B51633">
              <a:alpha val="84000"/>
            </a:srgbClr>
          </a:solidFill>
          <a:ln>
            <a:solidFill>
              <a:srgbClr val="520A18">
                <a:alpha val="48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8" name="Straight Connector 117"/>
          <p:cNvCxnSpPr/>
          <p:nvPr/>
        </p:nvCxnSpPr>
        <p:spPr>
          <a:xfrm flipH="1">
            <a:off x="7414261" y="5177192"/>
            <a:ext cx="1" cy="297007"/>
          </a:xfrm>
          <a:prstGeom prst="line">
            <a:avLst/>
          </a:prstGeom>
          <a:solidFill>
            <a:srgbClr val="B51633">
              <a:alpha val="23000"/>
            </a:srgbClr>
          </a:solidFill>
          <a:ln>
            <a:solidFill>
              <a:srgbClr val="520A18">
                <a:alpha val="48000"/>
              </a:srgbClr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19" name="Picture 1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804" y="5173219"/>
            <a:ext cx="225570" cy="1324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798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33151" y="156243"/>
            <a:ext cx="654833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ğerlendirme Sonuçlarına Göre Dağılım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950391" y="2056213"/>
          <a:ext cx="9666304" cy="4511727"/>
        </p:xfrm>
        <a:graphic>
          <a:graphicData uri="http://schemas.openxmlformats.org/drawingml/2006/table">
            <a:tbl>
              <a:tblPr/>
              <a:tblGrid>
                <a:gridCol w="1815498">
                  <a:extLst>
                    <a:ext uri="{9D8B030D-6E8A-4147-A177-3AD203B41FA5}">
                      <a16:colId xmlns:a16="http://schemas.microsoft.com/office/drawing/2014/main" val="3719047036"/>
                    </a:ext>
                  </a:extLst>
                </a:gridCol>
                <a:gridCol w="2453378">
                  <a:extLst>
                    <a:ext uri="{9D8B030D-6E8A-4147-A177-3AD203B41FA5}">
                      <a16:colId xmlns:a16="http://schemas.microsoft.com/office/drawing/2014/main" val="4066666146"/>
                    </a:ext>
                  </a:extLst>
                </a:gridCol>
                <a:gridCol w="2845917">
                  <a:extLst>
                    <a:ext uri="{9D8B030D-6E8A-4147-A177-3AD203B41FA5}">
                      <a16:colId xmlns:a16="http://schemas.microsoft.com/office/drawing/2014/main" val="2879128850"/>
                    </a:ext>
                  </a:extLst>
                </a:gridCol>
                <a:gridCol w="2551511">
                  <a:extLst>
                    <a:ext uri="{9D8B030D-6E8A-4147-A177-3AD203B41FA5}">
                      <a16:colId xmlns:a16="http://schemas.microsoft.com/office/drawing/2014/main" val="2378004044"/>
                    </a:ext>
                  </a:extLst>
                </a:gridCol>
              </a:tblGrid>
              <a:tr h="1327939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üksek Potansiye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1.4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224)</a:t>
                      </a:r>
                    </a:p>
                    <a:p>
                      <a:pPr algn="ctr" fontAlgn="ctr"/>
                      <a:endParaRPr lang="tr-TR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7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1.142)</a:t>
                      </a:r>
                    </a:p>
                    <a:p>
                      <a:pPr algn="ctr" fontAlgn="ctr"/>
                      <a:endParaRPr lang="tr-TR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1.9 </a:t>
                      </a:r>
                    </a:p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302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148249"/>
                  </a:ext>
                </a:extLst>
              </a:tr>
              <a:tr h="1327939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talama Potansiye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9.8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1.578)</a:t>
                      </a:r>
                    </a:p>
                    <a:p>
                      <a:pPr algn="ctr" fontAlgn="ctr"/>
                      <a:endParaRPr lang="tr-TR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E98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40.9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6.595)</a:t>
                      </a:r>
                    </a:p>
                    <a:p>
                      <a:pPr algn="ctr" fontAlgn="ctr"/>
                      <a:endParaRPr lang="tr-TR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3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10.4</a:t>
                      </a:r>
                      <a:r>
                        <a:rPr lang="tr-TR" sz="2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1.674)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D4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754916"/>
                  </a:ext>
                </a:extLst>
              </a:tr>
              <a:tr h="1324673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üşük Potansiye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6.6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1.070)</a:t>
                      </a:r>
                    </a:p>
                    <a:p>
                      <a:pPr algn="ctr" fontAlgn="ctr"/>
                      <a:endParaRPr lang="tr-TR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6D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19.1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(3.079)</a:t>
                      </a:r>
                    </a:p>
                    <a:p>
                      <a:pPr algn="ctr" fontAlgn="ctr"/>
                      <a:endParaRPr lang="tr-TR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2.8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443)</a:t>
                      </a:r>
                    </a:p>
                    <a:p>
                      <a:pPr algn="ctr" fontAlgn="ctr"/>
                      <a:endParaRPr lang="tr-TR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847724"/>
                  </a:ext>
                </a:extLst>
              </a:tr>
              <a:tr h="265588">
                <a:tc>
                  <a:txBody>
                    <a:bodyPr/>
                    <a:lstStyle/>
                    <a:p>
                      <a:pPr algn="ctr" fontAlgn="ctr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6441920"/>
                  </a:ext>
                </a:extLst>
              </a:tr>
              <a:tr h="265588">
                <a:tc>
                  <a:txBody>
                    <a:bodyPr/>
                    <a:lstStyle/>
                    <a:p>
                      <a:pPr algn="ctr" fontAlgn="ctr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üşük Performan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talama Performan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üksek Performan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6169688"/>
                  </a:ext>
                </a:extLst>
              </a:tr>
            </a:tbl>
          </a:graphicData>
        </a:graphic>
      </p:graphicFrame>
      <p:cxnSp>
        <p:nvCxnSpPr>
          <p:cNvPr id="7" name="Straight Arrow Connector 6"/>
          <p:cNvCxnSpPr/>
          <p:nvPr/>
        </p:nvCxnSpPr>
        <p:spPr>
          <a:xfrm>
            <a:off x="2709101" y="6094578"/>
            <a:ext cx="8100000" cy="0"/>
          </a:xfrm>
          <a:prstGeom prst="straightConnector1">
            <a:avLst/>
          </a:prstGeom>
          <a:grpFill/>
          <a:ln w="381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flipH="1" flipV="1">
            <a:off x="2709101" y="1886405"/>
            <a:ext cx="0" cy="4212000"/>
          </a:xfrm>
          <a:prstGeom prst="straightConnector1">
            <a:avLst/>
          </a:prstGeom>
          <a:ln w="3810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54726" y="1067940"/>
            <a:ext cx="10900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.107 Mal İhracatçısı firma  Geçmiş İhracat Performansı ve İhracat Artış Potansiyellerine göre değerlendirilmiş olup dağılım aşağıdaki gibi gerçekleşmiştir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25961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6419" y="1071154"/>
            <a:ext cx="11686903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üksek Teknolojili Ürün İhracatı		:	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k, Bilgisayar, Eczacılık, Elektronik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rim Değeri Yüksek Ürün İhracatı		:	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rmaşık ürünler, Marka değeri yüksek ürünler</a:t>
            </a: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tma Değeri Yüksek İhracat		:	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üşük ithal girdi kullanan firmalar</a:t>
            </a:r>
            <a:endParaRPr kumimoji="0" lang="tr-T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ızlı Büyüyen Sektörlerdeki İhracat	:	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mi İnşa, Eczacılık, Bilişim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zak Ülke Stratejisine Yönelik İhracat	:	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ğırlıklı olarak uzak ülkelere ihracat yapan firma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zar Genişlemesi Sağlayan İhracat	:	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zar artışı sağlayan firma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hracat Artışı Sağlayan Firmalar		: 	</a:t>
            </a:r>
            <a:r>
              <a:rPr kumimoji="0" lang="tr-T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hracat tutarını ve odağını artıran firmala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33151" y="156243"/>
            <a:ext cx="981461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 Tarafından </a:t>
            </a:r>
            <a:r>
              <a:rPr kumimoji="0" lang="tr-TR" sz="30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nceliklendirilen</a:t>
            </a:r>
            <a:r>
              <a:rPr kumimoji="0" lang="tr-TR" sz="3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irmaların Ortak Özellikleri</a:t>
            </a:r>
          </a:p>
        </p:txBody>
      </p:sp>
    </p:spTree>
    <p:extLst>
      <p:ext uri="{BB962C8B-B14F-4D97-AF65-F5344CB8AC3E}">
        <p14:creationId xmlns:p14="http://schemas.microsoft.com/office/powerpoint/2010/main" val="40416468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17548" y="1268413"/>
            <a:ext cx="12174452" cy="465493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3151" y="156243"/>
            <a:ext cx="577594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rnek Firma Değerlendirme Sonucu</a:t>
            </a:r>
          </a:p>
        </p:txBody>
      </p:sp>
    </p:spTree>
    <p:extLst>
      <p:ext uri="{BB962C8B-B14F-4D97-AF65-F5344CB8AC3E}">
        <p14:creationId xmlns:p14="http://schemas.microsoft.com/office/powerpoint/2010/main" val="11865511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2-Point Star 6"/>
          <p:cNvSpPr/>
          <p:nvPr/>
        </p:nvSpPr>
        <p:spPr>
          <a:xfrm>
            <a:off x="1087675" y="494582"/>
            <a:ext cx="1628775" cy="1625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solidFill>
                  <a:prstClr val="black"/>
                </a:solidFill>
              </a:ln>
              <a:noFill/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1063862" y="469182"/>
            <a:ext cx="1676400" cy="1676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solidFill>
                  <a:prstClr val="black"/>
                </a:solidFill>
              </a:ln>
              <a:noFill/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31988" y="811748"/>
            <a:ext cx="195774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0" normalizeH="0" baseline="0" noProof="0" dirty="0">
                <a:ln>
                  <a:noFill/>
                </a:ln>
                <a:solidFill>
                  <a:srgbClr val="B516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eskont Kredileri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923188" y="2361495"/>
            <a:ext cx="4908833" cy="2850010"/>
            <a:chOff x="1022465" y="1464297"/>
            <a:chExt cx="4908833" cy="2850010"/>
          </a:xfrm>
        </p:grpSpPr>
        <p:grpSp>
          <p:nvGrpSpPr>
            <p:cNvPr id="27" name="Group 26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35" name="Rectangle 34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l / Hizmet İhracatı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/ KOBİ Dışı</a:t>
                </a:r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RY / Döviz</a:t>
                </a: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 Mektubu / Bono / İGE &amp; KGF Kefaleti</a:t>
                </a: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CMB</a:t>
                </a: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33" name="Isosceles Triangle 32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Reeskont Kredisi</a:t>
                </a:r>
              </a:p>
            </p:txBody>
          </p:sp>
        </p:grpSp>
        <p:sp>
          <p:nvSpPr>
            <p:cNvPr id="32" name="Freeform 31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6302908" y="2361495"/>
            <a:ext cx="4908833" cy="2850010"/>
            <a:chOff x="1022465" y="1464297"/>
            <a:chExt cx="4908833" cy="2850010"/>
          </a:xfrm>
        </p:grpSpPr>
        <p:grpSp>
          <p:nvGrpSpPr>
            <p:cNvPr id="51" name="Group 50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56" name="Rectangle 55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Sonrası</a:t>
                </a: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l İhracatı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/ KOBİ Dışı</a:t>
                </a: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öviz</a:t>
                </a: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 Sigorta Poliçesi</a:t>
                </a: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CMB</a:t>
                </a: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54" name="Isosceles Triangle 53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Sonrası Reeskont Kredisi</a:t>
                </a:r>
              </a:p>
            </p:txBody>
          </p:sp>
        </p:grpSp>
        <p:sp>
          <p:nvSpPr>
            <p:cNvPr id="53" name="Freeform 52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72" name="Rectangle 71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4" name="Freeform 73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76" name="Freeform 75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77" name="Picture 7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45857" y="4598807"/>
                <a:ext cx="1282530" cy="797672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667522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6" presetClass="emp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  <p:bldP spid="8" grpId="1" animBg="1"/>
      <p:bldP spid="11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2-Point Star 6"/>
          <p:cNvSpPr/>
          <p:nvPr/>
        </p:nvSpPr>
        <p:spPr>
          <a:xfrm>
            <a:off x="1087675" y="494582"/>
            <a:ext cx="1628775" cy="1625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solidFill>
                  <a:prstClr val="black"/>
                </a:solidFill>
              </a:ln>
              <a:noFill/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1063862" y="469182"/>
            <a:ext cx="1676400" cy="1676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solidFill>
                  <a:prstClr val="black"/>
                </a:solidFill>
              </a:ln>
              <a:noFill/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58245" y="594794"/>
            <a:ext cx="195774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hracata Hazırlık Kredileri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923188" y="2291152"/>
            <a:ext cx="4908833" cy="2850010"/>
            <a:chOff x="1022465" y="1464297"/>
            <a:chExt cx="4908833" cy="2850010"/>
          </a:xfrm>
        </p:grpSpPr>
        <p:grpSp>
          <p:nvGrpSpPr>
            <p:cNvPr id="27" name="Group 26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35" name="Rectangle 34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l İhracatı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Dışı</a:t>
                </a:r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öviz</a:t>
                </a: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 Mektubu</a:t>
                </a: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33" name="Isosceles Triangle 32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a Hazırlık Kredisi</a:t>
                </a:r>
              </a:p>
            </p:txBody>
          </p:sp>
        </p:grpSp>
        <p:sp>
          <p:nvSpPr>
            <p:cNvPr id="32" name="Freeform 31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6302908" y="2291152"/>
            <a:ext cx="4908833" cy="2850010"/>
            <a:chOff x="1022465" y="1464297"/>
            <a:chExt cx="4908833" cy="2850010"/>
          </a:xfrm>
        </p:grpSpPr>
        <p:grpSp>
          <p:nvGrpSpPr>
            <p:cNvPr id="51" name="Group 50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56" name="Rectangle 55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l İhracatı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</a:t>
                </a: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öviz/TL</a:t>
                </a: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 Mektubu / İGE &amp; KGF Kefaleti</a:t>
                </a: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54" name="Isosceles Triangle 53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İhracata Hazırlık Kredisi</a:t>
                </a:r>
              </a:p>
            </p:txBody>
          </p:sp>
        </p:grpSp>
        <p:sp>
          <p:nvSpPr>
            <p:cNvPr id="53" name="Freeform 52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72" name="Rectangle 71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4" name="Freeform 73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76" name="Freeform 75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77" name="Picture 7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45857" y="4598807"/>
                <a:ext cx="1282530" cy="797672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093123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6" presetClass="emp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  <p:bldP spid="8" grpId="1" animBg="1"/>
      <p:bldP spid="11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2-Point Star 6"/>
          <p:cNvSpPr/>
          <p:nvPr/>
        </p:nvSpPr>
        <p:spPr>
          <a:xfrm>
            <a:off x="1087675" y="494582"/>
            <a:ext cx="1628775" cy="1625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solidFill>
                  <a:prstClr val="black"/>
                </a:solidFill>
              </a:ln>
              <a:noFill/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1063862" y="469182"/>
            <a:ext cx="1676400" cy="1676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solidFill>
                  <a:prstClr val="black"/>
                </a:solidFill>
              </a:ln>
              <a:noFill/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19095" y="751195"/>
            <a:ext cx="236593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acı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nka/Kurum Kredileri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80502" y="2396658"/>
            <a:ext cx="3810177" cy="2850010"/>
            <a:chOff x="1022465" y="1464297"/>
            <a:chExt cx="4402330" cy="2850010"/>
          </a:xfrm>
        </p:grpSpPr>
        <p:grpSp>
          <p:nvGrpSpPr>
            <p:cNvPr id="29" name="Group 28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34" name="Rectangle 33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2431640" y="226937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l / Hizmet İhracatı</a:t>
                </a: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/ KOBİ Dışı</a:t>
                </a: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RY / Döviz</a:t>
                </a:r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-</a:t>
                </a: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racı Bankalar</a:t>
                </a: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32" name="Isosceles Triangle 31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32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Kredisi</a:t>
                </a:r>
              </a:p>
            </p:txBody>
          </p:sp>
        </p:grpSp>
        <p:sp>
          <p:nvSpPr>
            <p:cNvPr id="31" name="Freeform 30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4215016" y="2396658"/>
            <a:ext cx="3810177" cy="2850010"/>
            <a:chOff x="1022465" y="1464297"/>
            <a:chExt cx="4402330" cy="2850010"/>
          </a:xfrm>
        </p:grpSpPr>
        <p:grpSp>
          <p:nvGrpSpPr>
            <p:cNvPr id="80" name="Group 79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85" name="Rectangle 84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Sonrası</a:t>
                </a:r>
              </a:p>
            </p:txBody>
          </p:sp>
          <p:sp>
            <p:nvSpPr>
              <p:cNvPr id="87" name="Rectangle 86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88" name="Rectangle 87"/>
              <p:cNvSpPr/>
              <p:nvPr/>
            </p:nvSpPr>
            <p:spPr>
              <a:xfrm>
                <a:off x="2431640" y="226937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l İhracatı</a:t>
                </a:r>
              </a:p>
            </p:txBody>
          </p:sp>
          <p:sp>
            <p:nvSpPr>
              <p:cNvPr id="89" name="Rectangle 88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/ KOBİ Dışı</a:t>
                </a:r>
              </a:p>
            </p:txBody>
          </p:sp>
          <p:sp>
            <p:nvSpPr>
              <p:cNvPr id="91" name="Rectangle 90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92" name="Rectangle 91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öviz</a:t>
                </a:r>
              </a:p>
            </p:txBody>
          </p:sp>
          <p:sp>
            <p:nvSpPr>
              <p:cNvPr id="93" name="Rectangle 92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94" name="Rectangle 93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-</a:t>
                </a:r>
              </a:p>
            </p:txBody>
          </p:sp>
          <p:sp>
            <p:nvSpPr>
              <p:cNvPr id="95" name="Rectangle 94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96" name="Rectangle 95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ktoring</a:t>
                </a: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Şirketleri</a:t>
                </a:r>
              </a:p>
            </p:txBody>
          </p:sp>
          <p:sp>
            <p:nvSpPr>
              <p:cNvPr id="97" name="Rectangle 96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CMB</a:t>
                </a:r>
              </a:p>
            </p:txBody>
          </p:sp>
          <p:sp>
            <p:nvSpPr>
              <p:cNvPr id="99" name="Rectangle 98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1" name="Group 80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83" name="Isosceles Triangle 82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Freeform 83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aktoring</a:t>
                </a: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Kredisi</a:t>
                </a:r>
              </a:p>
            </p:txBody>
          </p:sp>
        </p:grpSp>
        <p:sp>
          <p:nvSpPr>
            <p:cNvPr id="82" name="Freeform 81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8309110" y="2396658"/>
            <a:ext cx="3810177" cy="2850010"/>
            <a:chOff x="1022465" y="1464297"/>
            <a:chExt cx="4402330" cy="2850010"/>
          </a:xfrm>
        </p:grpSpPr>
        <p:grpSp>
          <p:nvGrpSpPr>
            <p:cNvPr id="101" name="Group 100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106" name="Rectangle 105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107" name="Rectangle 106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</p:txBody>
          </p:sp>
          <p:sp>
            <p:nvSpPr>
              <p:cNvPr id="108" name="Rectangle 107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109" name="Rectangle 108"/>
              <p:cNvSpPr/>
              <p:nvPr/>
            </p:nvSpPr>
            <p:spPr>
              <a:xfrm>
                <a:off x="2431640" y="226937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l / Hizmet İhracatı</a:t>
                </a:r>
              </a:p>
            </p:txBody>
          </p:sp>
          <p:sp>
            <p:nvSpPr>
              <p:cNvPr id="110" name="Rectangle 109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111" name="Rectangle 110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/ KOBİ Dışı</a:t>
                </a:r>
              </a:p>
            </p:txBody>
          </p:sp>
          <p:sp>
            <p:nvSpPr>
              <p:cNvPr id="112" name="Rectangle 111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113" name="Rectangle 112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RY / Döviz</a:t>
                </a:r>
              </a:p>
            </p:txBody>
          </p:sp>
          <p:sp>
            <p:nvSpPr>
              <p:cNvPr id="114" name="Rectangle 113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115" name="Rectangle 114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-</a:t>
                </a:r>
              </a:p>
            </p:txBody>
          </p:sp>
          <p:sp>
            <p:nvSpPr>
              <p:cNvPr id="116" name="Rectangle 115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117" name="Rectangle 116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easing Şirketleri / Katılım Bankaları</a:t>
                </a:r>
              </a:p>
            </p:txBody>
          </p:sp>
          <p:sp>
            <p:nvSpPr>
              <p:cNvPr id="118" name="Rectangle 117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119" name="Rectangle 118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120" name="Rectangle 119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02" name="Group 101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104" name="Isosceles Triangle 103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Freeform 104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al Kiralama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şlemlerine Yönelik Kredi</a:t>
                </a:r>
              </a:p>
            </p:txBody>
          </p:sp>
        </p:grpSp>
        <p:sp>
          <p:nvSpPr>
            <p:cNvPr id="103" name="Freeform 102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75" name="Picture 7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982" y="5670419"/>
            <a:ext cx="1282530" cy="797672"/>
          </a:xfrm>
          <a:prstGeom prst="rect">
            <a:avLst/>
          </a:prstGeom>
          <a:noFill/>
        </p:spPr>
      </p:pic>
      <p:grpSp>
        <p:nvGrpSpPr>
          <p:cNvPr id="74" name="Group 73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76" name="Rectangle 75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8" name="Freeform 77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121" name="Group 120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122" name="Freeform 121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123" name="Picture 122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45857" y="4598807"/>
                <a:ext cx="1282530" cy="797672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743559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6" presetClass="emp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200"/>
                            </p:stCondLst>
                            <p:childTnLst>
                              <p:par>
                                <p:cTn id="2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  <p:bldP spid="8" grpId="1" animBg="1"/>
      <p:bldP spid="11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2-Point Star 6"/>
          <p:cNvSpPr/>
          <p:nvPr/>
        </p:nvSpPr>
        <p:spPr>
          <a:xfrm>
            <a:off x="1087675" y="494582"/>
            <a:ext cx="1628775" cy="16256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solidFill>
                  <a:prstClr val="black"/>
                </a:solidFill>
              </a:ln>
              <a:noFill/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1056537" y="487213"/>
            <a:ext cx="1676400" cy="1676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solidFill>
                  <a:prstClr val="black"/>
                </a:solidFill>
              </a:ln>
              <a:noFill/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58245" y="741785"/>
            <a:ext cx="195774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şletme ve Yatırı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edileri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923188" y="2326321"/>
            <a:ext cx="4908833" cy="2850010"/>
            <a:chOff x="1022465" y="1464297"/>
            <a:chExt cx="4908833" cy="2850010"/>
          </a:xfrm>
        </p:grpSpPr>
        <p:grpSp>
          <p:nvGrpSpPr>
            <p:cNvPr id="27" name="Group 26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35" name="Rectangle 34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l / Hizmet İhracatı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/ KOBİ Dışı</a:t>
                </a:r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öviz</a:t>
                </a: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 Mektubu</a:t>
                </a: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33" name="Isosceles Triangle 32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33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a Yönelik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şletme Sermayesi Kredisi</a:t>
                </a:r>
              </a:p>
            </p:txBody>
          </p:sp>
        </p:grpSp>
        <p:sp>
          <p:nvSpPr>
            <p:cNvPr id="32" name="Freeform 31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6302908" y="2326321"/>
            <a:ext cx="4908833" cy="2850010"/>
            <a:chOff x="1022465" y="1464297"/>
            <a:chExt cx="4908833" cy="2850010"/>
          </a:xfrm>
        </p:grpSpPr>
        <p:grpSp>
          <p:nvGrpSpPr>
            <p:cNvPr id="51" name="Group 50"/>
            <p:cNvGrpSpPr/>
            <p:nvPr/>
          </p:nvGrpSpPr>
          <p:grpSpPr>
            <a:xfrm>
              <a:off x="1022465" y="1587731"/>
              <a:ext cx="4908833" cy="2726576"/>
              <a:chOff x="1022465" y="1587731"/>
              <a:chExt cx="4908833" cy="2726576"/>
            </a:xfrm>
          </p:grpSpPr>
          <p:sp>
            <p:nvSpPr>
              <p:cNvPr id="56" name="Rectangle 55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2431640" y="192855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2431640" y="226937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l / Hizmet İhracatı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2431640" y="2610197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/ KOBİ Dışı</a:t>
                </a: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431640" y="2951019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öviz</a:t>
                </a: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2431640" y="3291841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 Mektubu</a:t>
                </a: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2431640" y="3632663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68" name="Rectangle 67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2431640" y="3973485"/>
                <a:ext cx="3499658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70" name="Rectangle 69"/>
              <p:cNvSpPr/>
              <p:nvPr/>
            </p:nvSpPr>
            <p:spPr>
              <a:xfrm>
                <a:off x="1022465" y="1587731"/>
                <a:ext cx="490883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2" name="Group 51"/>
            <p:cNvGrpSpPr/>
            <p:nvPr/>
          </p:nvGrpSpPr>
          <p:grpSpPr>
            <a:xfrm>
              <a:off x="1911638" y="1481744"/>
              <a:ext cx="2951086" cy="411480"/>
              <a:chOff x="2170718" y="1473431"/>
              <a:chExt cx="2951086" cy="411480"/>
            </a:xfrm>
          </p:grpSpPr>
          <p:sp>
            <p:nvSpPr>
              <p:cNvPr id="54" name="Isosceles Triangle 53"/>
              <p:cNvSpPr/>
              <p:nvPr/>
            </p:nvSpPr>
            <p:spPr>
              <a:xfrm>
                <a:off x="2170718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2295477" y="1473431"/>
                <a:ext cx="2826327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a Yönelik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Yatırım Kredisi</a:t>
                </a:r>
              </a:p>
            </p:txBody>
          </p:sp>
        </p:grpSp>
        <p:sp>
          <p:nvSpPr>
            <p:cNvPr id="53" name="Freeform 52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72" name="Rectangle 71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4" name="Freeform 73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76" name="Freeform 75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77" name="Picture 7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45857" y="4598807"/>
                <a:ext cx="1282530" cy="797672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612920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6" presetClass="emp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  <p:bldP spid="8" grpId="1" animBg="1"/>
      <p:bldP spid="11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888019" y="354881"/>
            <a:ext cx="1957749" cy="1676400"/>
            <a:chOff x="923187" y="469182"/>
            <a:chExt cx="1957749" cy="1676400"/>
          </a:xfrm>
        </p:grpSpPr>
        <p:sp>
          <p:nvSpPr>
            <p:cNvPr id="7" name="12-Point Star 6"/>
            <p:cNvSpPr/>
            <p:nvPr/>
          </p:nvSpPr>
          <p:spPr>
            <a:xfrm>
              <a:off x="1087675" y="494582"/>
              <a:ext cx="1628775" cy="16256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solidFill>
                    <a:prstClr val="black"/>
                  </a:solidFill>
                </a:ln>
                <a:noFill/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1063862" y="469182"/>
              <a:ext cx="1676400" cy="1676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solidFill>
                    <a:prstClr val="black"/>
                  </a:solidFill>
                </a:ln>
                <a:noFill/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923187" y="591245"/>
              <a:ext cx="1957749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öviz Kazandırıcı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izmet Kredileri</a:t>
              </a:r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-25005" y="5115177"/>
            <a:ext cx="3244061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ÜRSAB üyesi A grubu işletme belgeli seyahat </a:t>
            </a:r>
            <a:r>
              <a:rPr kumimoji="0" lang="tr-TR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entaları</a:t>
            </a:r>
            <a:endParaRPr kumimoji="0" lang="tr-TR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kanlıkça tur operatörü olarak nitelendirilmiş A grubu belgeli seyahat </a:t>
            </a:r>
            <a:r>
              <a:rPr kumimoji="0" lang="tr-TR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entalarına</a:t>
            </a:r>
            <a:endParaRPr kumimoji="0" lang="tr-TR" sz="9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cari hava taşımacılığı işletme ruhsatı sahibi özel havayolu firmaları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hracatçı sayılan konaklama hizmeti veren turizm işletmeleri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070594" y="5115177"/>
            <a:ext cx="2784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luslararası nakliyat firmaları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jistik işletmeciliği yapan firmalar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luslararası taşıma organizatörlüğü yapan firmalar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143516" y="5115177"/>
            <a:ext cx="278421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üteahhitlik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üşavirlik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azılım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ühendislik hizmetleri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ğlık hizmetleri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kım onarım hizmetleri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er satışları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80502" y="2203227"/>
            <a:ext cx="3810177" cy="2850010"/>
            <a:chOff x="1022465" y="1464297"/>
            <a:chExt cx="4402330" cy="2850010"/>
          </a:xfrm>
        </p:grpSpPr>
        <p:grpSp>
          <p:nvGrpSpPr>
            <p:cNvPr id="33" name="Group 32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38" name="Rectangle 37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1022466" y="2269375"/>
                <a:ext cx="1396883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2431641" y="2269375"/>
                <a:ext cx="299315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izmet</a:t>
                </a:r>
              </a:p>
            </p:txBody>
          </p:sp>
          <p:sp>
            <p:nvSpPr>
              <p:cNvPr id="56" name="Rectangle 55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/ KOBİ Dışı</a:t>
                </a: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RY / Döviz</a:t>
                </a: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 Mektubu / İGE &amp; KGF Kefaleti</a:t>
                </a:r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66" name="Rectangle 65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36" name="Isosceles Triangle 35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 36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urizm Kredisi</a:t>
                </a:r>
              </a:p>
            </p:txBody>
          </p:sp>
        </p:grpSp>
        <p:sp>
          <p:nvSpPr>
            <p:cNvPr id="35" name="Freeform 34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4215016" y="2203227"/>
            <a:ext cx="3810177" cy="2850010"/>
            <a:chOff x="1022465" y="1464297"/>
            <a:chExt cx="4402330" cy="2850010"/>
          </a:xfrm>
        </p:grpSpPr>
        <p:grpSp>
          <p:nvGrpSpPr>
            <p:cNvPr id="68" name="Group 67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73" name="Rectangle 72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74" name="Rectangle 73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</p:txBody>
          </p:sp>
          <p:sp>
            <p:nvSpPr>
              <p:cNvPr id="75" name="Rectangle 74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76" name="Rectangle 75"/>
              <p:cNvSpPr/>
              <p:nvPr/>
            </p:nvSpPr>
            <p:spPr>
              <a:xfrm>
                <a:off x="2431640" y="226937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izmet</a:t>
                </a:r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78" name="Rectangle 77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/ KOBİ Dışı</a:t>
                </a:r>
              </a:p>
            </p:txBody>
          </p:sp>
          <p:sp>
            <p:nvSpPr>
              <p:cNvPr id="79" name="Rectangle 78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80" name="Rectangle 79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RY / Döviz</a:t>
                </a:r>
              </a:p>
            </p:txBody>
          </p:sp>
          <p:sp>
            <p:nvSpPr>
              <p:cNvPr id="81" name="Rectangle 80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82" name="Rectangle 81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 Mektubu / İGE &amp; KGF Kefaleti</a:t>
                </a:r>
              </a:p>
            </p:txBody>
          </p:sp>
          <p:sp>
            <p:nvSpPr>
              <p:cNvPr id="83" name="Rectangle 82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84" name="Rectangle 83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87" name="Rectangle 86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69" name="Group 68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71" name="Isosceles Triangle 70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Freeform 71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Uluslararası Nakliyat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zarlama Kredisi</a:t>
                </a:r>
              </a:p>
            </p:txBody>
          </p:sp>
        </p:grpSp>
        <p:sp>
          <p:nvSpPr>
            <p:cNvPr id="70" name="Freeform 69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8309110" y="2203227"/>
            <a:ext cx="3810177" cy="2850010"/>
            <a:chOff x="1022465" y="1464297"/>
            <a:chExt cx="4402330" cy="2850010"/>
          </a:xfrm>
        </p:grpSpPr>
        <p:grpSp>
          <p:nvGrpSpPr>
            <p:cNvPr id="89" name="Group 88"/>
            <p:cNvGrpSpPr/>
            <p:nvPr/>
          </p:nvGrpSpPr>
          <p:grpSpPr>
            <a:xfrm>
              <a:off x="1022465" y="1587731"/>
              <a:ext cx="4402330" cy="2726576"/>
              <a:chOff x="1022465" y="1587731"/>
              <a:chExt cx="4402330" cy="2726576"/>
            </a:xfrm>
          </p:grpSpPr>
          <p:sp>
            <p:nvSpPr>
              <p:cNvPr id="94" name="Rectangle 93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sman Türü</a:t>
                </a:r>
              </a:p>
            </p:txBody>
          </p:sp>
          <p:sp>
            <p:nvSpPr>
              <p:cNvPr id="95" name="Rectangle 94"/>
              <p:cNvSpPr/>
              <p:nvPr/>
            </p:nvSpPr>
            <p:spPr>
              <a:xfrm>
                <a:off x="2431640" y="192855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vk Öncesi</a:t>
                </a:r>
              </a:p>
            </p:txBody>
          </p:sp>
          <p:sp>
            <p:nvSpPr>
              <p:cNvPr id="96" name="Rectangle 95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İhracat Türü</a:t>
                </a:r>
              </a:p>
            </p:txBody>
          </p:sp>
          <p:sp>
            <p:nvSpPr>
              <p:cNvPr id="97" name="Rectangle 96"/>
              <p:cNvSpPr/>
              <p:nvPr/>
            </p:nvSpPr>
            <p:spPr>
              <a:xfrm>
                <a:off x="2431640" y="226937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izmet</a:t>
                </a:r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rma Vasfı</a:t>
                </a:r>
              </a:p>
            </p:txBody>
          </p:sp>
          <p:sp>
            <p:nvSpPr>
              <p:cNvPr id="99" name="Rectangle 98"/>
              <p:cNvSpPr/>
              <p:nvPr/>
            </p:nvSpPr>
            <p:spPr>
              <a:xfrm>
                <a:off x="2431640" y="2610197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OBİ / KOBİ Dışı</a:t>
                </a:r>
              </a:p>
            </p:txBody>
          </p:sp>
          <p:sp>
            <p:nvSpPr>
              <p:cNvPr id="100" name="Rectangle 99"/>
              <p:cNvSpPr/>
              <p:nvPr/>
            </p:nvSpPr>
            <p:spPr>
              <a:xfrm>
                <a:off x="1022465" y="2951019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ara Birimi</a:t>
                </a:r>
              </a:p>
            </p:txBody>
          </p:sp>
          <p:sp>
            <p:nvSpPr>
              <p:cNvPr id="101" name="Rectangle 100"/>
              <p:cNvSpPr/>
              <p:nvPr/>
            </p:nvSpPr>
            <p:spPr>
              <a:xfrm>
                <a:off x="2431640" y="2951019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RY / Döviz</a:t>
                </a:r>
              </a:p>
            </p:txBody>
          </p:sp>
          <p:sp>
            <p:nvSpPr>
              <p:cNvPr id="102" name="Rectangle 101"/>
              <p:cNvSpPr/>
              <p:nvPr/>
            </p:nvSpPr>
            <p:spPr>
              <a:xfrm>
                <a:off x="1022465" y="3291841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</a:t>
                </a:r>
              </a:p>
            </p:txBody>
          </p:sp>
          <p:sp>
            <p:nvSpPr>
              <p:cNvPr id="103" name="Rectangle 102"/>
              <p:cNvSpPr/>
              <p:nvPr/>
            </p:nvSpPr>
            <p:spPr>
              <a:xfrm>
                <a:off x="2431640" y="3291841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inat Mektubu / İGE &amp; KGF Kefaleti</a:t>
                </a:r>
              </a:p>
            </p:txBody>
          </p:sp>
          <p:sp>
            <p:nvSpPr>
              <p:cNvPr id="104" name="Rectangle 103"/>
              <p:cNvSpPr/>
              <p:nvPr/>
            </p:nvSpPr>
            <p:spPr>
              <a:xfrm>
                <a:off x="1022465" y="363266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aşvuru</a:t>
                </a:r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2431640" y="3632663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106" name="Rectangle 105"/>
              <p:cNvSpPr/>
              <p:nvPr/>
            </p:nvSpPr>
            <p:spPr>
              <a:xfrm>
                <a:off x="1022465" y="397348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ynak</a:t>
                </a:r>
              </a:p>
            </p:txBody>
          </p:sp>
          <p:sp>
            <p:nvSpPr>
              <p:cNvPr id="107" name="Rectangle 106"/>
              <p:cNvSpPr/>
              <p:nvPr/>
            </p:nvSpPr>
            <p:spPr>
              <a:xfrm>
                <a:off x="2431640" y="3973485"/>
                <a:ext cx="299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ürk Eximbank</a:t>
                </a:r>
              </a:p>
            </p:txBody>
          </p:sp>
          <p:sp>
            <p:nvSpPr>
              <p:cNvPr id="108" name="Rectangle 107"/>
              <p:cNvSpPr/>
              <p:nvPr/>
            </p:nvSpPr>
            <p:spPr>
              <a:xfrm>
                <a:off x="1022465" y="1587731"/>
                <a:ext cx="4402330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90" name="Group 89"/>
            <p:cNvGrpSpPr/>
            <p:nvPr/>
          </p:nvGrpSpPr>
          <p:grpSpPr>
            <a:xfrm>
              <a:off x="1797700" y="1481744"/>
              <a:ext cx="2951083" cy="411480"/>
              <a:chOff x="2056780" y="1473431"/>
              <a:chExt cx="2951083" cy="411480"/>
            </a:xfrm>
          </p:grpSpPr>
          <p:sp>
            <p:nvSpPr>
              <p:cNvPr id="92" name="Isosceles Triangle 91"/>
              <p:cNvSpPr/>
              <p:nvPr/>
            </p:nvSpPr>
            <p:spPr>
              <a:xfrm>
                <a:off x="2056780" y="1473431"/>
                <a:ext cx="256251" cy="114300"/>
              </a:xfrm>
              <a:prstGeom prst="triangle">
                <a:avLst>
                  <a:gd name="adj" fmla="val 48630"/>
                </a:avLst>
              </a:prstGeom>
              <a:solidFill>
                <a:srgbClr val="9A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 92"/>
              <p:cNvSpPr/>
              <p:nvPr/>
            </p:nvSpPr>
            <p:spPr>
              <a:xfrm>
                <a:off x="2181539" y="1473431"/>
                <a:ext cx="2826324" cy="411480"/>
              </a:xfrm>
              <a:custGeom>
                <a:avLst/>
                <a:gdLst>
                  <a:gd name="connsiteX0" fmla="*/ 0 w 2826327"/>
                  <a:gd name="connsiteY0" fmla="*/ 0 h 411480"/>
                  <a:gd name="connsiteX1" fmla="*/ 2729289 w 2826327"/>
                  <a:gd name="connsiteY1" fmla="*/ 0 h 411480"/>
                  <a:gd name="connsiteX2" fmla="*/ 2826327 w 2826327"/>
                  <a:gd name="connsiteY2" fmla="*/ 50310 h 411480"/>
                  <a:gd name="connsiteX3" fmla="*/ 2826327 w 2826327"/>
                  <a:gd name="connsiteY3" fmla="*/ 411480 h 411480"/>
                  <a:gd name="connsiteX4" fmla="*/ 0 w 2826327"/>
                  <a:gd name="connsiteY4" fmla="*/ 411480 h 411480"/>
                  <a:gd name="connsiteX5" fmla="*/ 0 w 2826327"/>
                  <a:gd name="connsiteY5" fmla="*/ 0 h 411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6327" h="411480">
                    <a:moveTo>
                      <a:pt x="0" y="0"/>
                    </a:moveTo>
                    <a:lnTo>
                      <a:pt x="2729289" y="0"/>
                    </a:lnTo>
                    <a:lnTo>
                      <a:pt x="2826327" y="50310"/>
                    </a:lnTo>
                    <a:lnTo>
                      <a:pt x="2826327" y="411480"/>
                    </a:lnTo>
                    <a:lnTo>
                      <a:pt x="0" y="4114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öviz Kazandırıcı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izmetler Kredisi</a:t>
                </a:r>
              </a:p>
            </p:txBody>
          </p:sp>
        </p:grpSp>
        <p:sp>
          <p:nvSpPr>
            <p:cNvPr id="91" name="Freeform 90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110" name="Rectangle 109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12" name="Freeform 111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113" name="Group 112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114" name="Freeform 113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115" name="Picture 114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45857" y="4598807"/>
                <a:ext cx="1282530" cy="797672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417803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53" grpId="0"/>
      <p:bldP spid="54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95400" y="396930"/>
            <a:ext cx="8686800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tr-TR" sz="1800" b="1" i="0" u="none" strike="noStrike" kern="1200" cap="none" spc="6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JE KREDİLERİ DEĞERLENDİRME SÜRECİ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endParaRPr kumimoji="0" lang="tr-TR" sz="1800" b="1" i="0" u="none" strike="noStrike" kern="1200" cap="none" spc="60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endParaRPr kumimoji="0" lang="tr-TR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12800" marR="0" lvl="1" indent="-355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Ø"/>
              <a:tabLst/>
              <a:defRPr/>
            </a:pP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Borçlu kurum</a:t>
            </a:r>
          </a:p>
          <a:p>
            <a:pPr marL="812800" marR="0" lvl="1" indent="-355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Ø"/>
              <a:tabLst/>
              <a:defRPr/>
            </a:pPr>
            <a:endParaRPr kumimoji="0" lang="tr-T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812800" marR="0" lvl="1" indent="-355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Ø"/>
              <a:tabLst/>
              <a:defRPr/>
            </a:pP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 panose="020B0604020202020204" pitchFamily="34" charset="0"/>
              </a:rPr>
              <a:t>Çeşitli enformasyon kaynakları, IMF ve Dünya Bankası raporları</a:t>
            </a: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/>
            </a:r>
            <a:b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</a:br>
            <a:endParaRPr kumimoji="0" lang="tr-T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812800" marR="0" lvl="1" indent="-355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Ø"/>
              <a:tabLst/>
              <a:defRPr/>
            </a:pPr>
            <a:endParaRPr kumimoji="0" lang="tr-T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812800" marR="0" lvl="1" indent="-355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Ø"/>
              <a:tabLst/>
              <a:defRPr/>
            </a:pP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Fizibilite raporu, kontrat, SÇED raporu</a:t>
            </a:r>
          </a:p>
          <a:p>
            <a:pPr marL="812800" marR="0" lvl="1" indent="-355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Ø"/>
              <a:tabLst/>
              <a:defRPr/>
            </a:pPr>
            <a:endParaRPr kumimoji="0" lang="tr-T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812800" marR="0" lvl="1" indent="-355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Ø"/>
              <a:tabLst/>
              <a:defRPr/>
            </a:pP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Firma istihbarat ve analiz raporu </a:t>
            </a:r>
            <a:b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</a:b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(Mali yapı, teknik yeterlilik, deneyim)</a:t>
            </a:r>
          </a:p>
          <a:p>
            <a:pPr marL="812800" marR="0" lvl="1" indent="-355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Ø"/>
              <a:tabLst/>
              <a:defRPr/>
            </a:pPr>
            <a:endParaRPr kumimoji="0" lang="tr-T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812800" marR="0" lvl="1" indent="-355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itchFamily="2" charset="2"/>
              <a:buChar char="Ø"/>
              <a:tabLst/>
              <a:defRPr/>
            </a:pPr>
            <a:endParaRPr kumimoji="0" lang="tr-TR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295400" y="1059597"/>
            <a:ext cx="8686800" cy="381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50900" algn="l"/>
                <a:tab pos="1616075" algn="l"/>
                <a:tab pos="2959100" algn="l"/>
                <a:tab pos="4098925" algn="l"/>
                <a:tab pos="5426075" algn="l"/>
              </a:tabLst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ahoma" pitchFamily="34" charset="0"/>
                <a:cs typeface="Times New Roman" pitchFamily="18" charset="0"/>
              </a:rPr>
              <a:t>Kredi Başvurusu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281545" y="2029104"/>
            <a:ext cx="8686800" cy="381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50900" algn="l"/>
                <a:tab pos="1616075" algn="l"/>
                <a:tab pos="2959100" algn="l"/>
                <a:tab pos="4098925" algn="l"/>
                <a:tab pos="5426075" algn="l"/>
              </a:tabLst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ahoma" pitchFamily="34" charset="0"/>
                <a:cs typeface="Times New Roman" pitchFamily="18" charset="0"/>
              </a:rPr>
              <a:t>Alıcı Ülke Değerlendirilmesi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alt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9" name="Rectangle 8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rgbClr val="B51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14" name="Freeform 13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24895" y="4593950"/>
                <a:ext cx="1282530" cy="79767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1281545" y="3352996"/>
            <a:ext cx="8686800" cy="381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50900" algn="l"/>
                <a:tab pos="1616075" algn="l"/>
                <a:tab pos="2959100" algn="l"/>
                <a:tab pos="4098925" algn="l"/>
                <a:tab pos="5426075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ahoma" pitchFamily="34" charset="0"/>
                <a:cs typeface="Times New Roman" pitchFamily="18" charset="0"/>
              </a:rPr>
              <a:t>Projeni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6E7E9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 panose="020B06040202020202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ahoma" pitchFamily="34" charset="0"/>
                <a:cs typeface="Times New Roman" pitchFamily="18" charset="0"/>
              </a:rPr>
              <a:t>Değerlendirilmesi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1281545" y="4293179"/>
            <a:ext cx="8686800" cy="38100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92075" tIns="46038" rIns="92075" bIns="4603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rgbClr val="E6E7E9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 panose="020B06040202020202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ahoma" pitchFamily="34" charset="0"/>
                <a:cs typeface="Times New Roman" pitchFamily="18" charset="0"/>
              </a:rPr>
              <a:t>Yüklenic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ahoma" pitchFamily="34" charset="0"/>
                <a:cs typeface="Times New Roman" pitchFamily="18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ahoma" pitchFamily="34" charset="0"/>
                <a:cs typeface="Times New Roman" pitchFamily="18" charset="0"/>
              </a:rPr>
              <a:t>Firmanı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ahoma" pitchFamily="34" charset="0"/>
                <a:cs typeface="Times New Roman" pitchFamily="18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Tahoma" pitchFamily="34" charset="0"/>
                <a:cs typeface="Times New Roman" pitchFamily="18" charset="0"/>
              </a:rPr>
              <a:t>Değerlendirilmesi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Tahoma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26566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169190" y="1156509"/>
            <a:ext cx="4430729" cy="4927333"/>
            <a:chOff x="1258837" y="1213851"/>
            <a:chExt cx="4430729" cy="4927333"/>
          </a:xfrm>
        </p:grpSpPr>
        <p:sp>
          <p:nvSpPr>
            <p:cNvPr id="8" name="Hexagon 7"/>
            <p:cNvSpPr/>
            <p:nvPr/>
          </p:nvSpPr>
          <p:spPr>
            <a:xfrm>
              <a:off x="2871662" y="2066643"/>
              <a:ext cx="792967" cy="683072"/>
            </a:xfrm>
            <a:prstGeom prst="hexagon">
              <a:avLst>
                <a:gd name="adj" fmla="val 28900"/>
                <a:gd name="vf" fmla="val 115470"/>
              </a:avLst>
            </a:prstGeom>
            <a:solidFill>
              <a:srgbClr val="D9D9D9"/>
            </a:solidFill>
          </p:spPr>
          <p:style>
            <a:lnRef idx="0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" name="Freeform 2"/>
            <p:cNvSpPr/>
            <p:nvPr/>
          </p:nvSpPr>
          <p:spPr>
            <a:xfrm>
              <a:off x="1258837" y="2845811"/>
              <a:ext cx="2225484" cy="1626895"/>
            </a:xfrm>
            <a:custGeom>
              <a:avLst/>
              <a:gdLst>
                <a:gd name="connsiteX0" fmla="*/ 0 w 2225484"/>
                <a:gd name="connsiteY0" fmla="*/ 813448 h 1626895"/>
                <a:gd name="connsiteX1" fmla="*/ 464804 w 2225484"/>
                <a:gd name="connsiteY1" fmla="*/ 0 h 1626895"/>
                <a:gd name="connsiteX2" fmla="*/ 1760680 w 2225484"/>
                <a:gd name="connsiteY2" fmla="*/ 0 h 1626895"/>
                <a:gd name="connsiteX3" fmla="*/ 2225484 w 2225484"/>
                <a:gd name="connsiteY3" fmla="*/ 813448 h 1626895"/>
                <a:gd name="connsiteX4" fmla="*/ 1760680 w 2225484"/>
                <a:gd name="connsiteY4" fmla="*/ 1626895 h 1626895"/>
                <a:gd name="connsiteX5" fmla="*/ 464804 w 2225484"/>
                <a:gd name="connsiteY5" fmla="*/ 1626895 h 1626895"/>
                <a:gd name="connsiteX6" fmla="*/ 0 w 2225484"/>
                <a:gd name="connsiteY6" fmla="*/ 813448 h 1626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5484" h="1626895">
                  <a:moveTo>
                    <a:pt x="0" y="813448"/>
                  </a:moveTo>
                  <a:lnTo>
                    <a:pt x="464804" y="0"/>
                  </a:lnTo>
                  <a:lnTo>
                    <a:pt x="1760680" y="0"/>
                  </a:lnTo>
                  <a:lnTo>
                    <a:pt x="2225484" y="813448"/>
                  </a:lnTo>
                  <a:lnTo>
                    <a:pt x="1760680" y="1626895"/>
                  </a:lnTo>
                  <a:lnTo>
                    <a:pt x="464804" y="1626895"/>
                  </a:lnTo>
                  <a:lnTo>
                    <a:pt x="0" y="813448"/>
                  </a:lnTo>
                  <a:close/>
                </a:path>
              </a:pathLst>
            </a:custGeom>
            <a:solidFill>
              <a:srgbClr val="A6A6A6"/>
            </a:solidFill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reflection blurRad="6350" stA="52000" endA="300" endPos="35000" dir="5400000" sy="-100000" algn="bl" rotWithShape="0"/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97542" tIns="305986" rIns="397542" bIns="305986" numCol="1" spcCol="1270" anchor="ctr" anchorCtr="0">
              <a:noAutofit/>
            </a:bodyPr>
            <a:lstStyle/>
            <a:p>
              <a:pPr marL="0" marR="0" lvl="0" indent="0" algn="ctr" defTabSz="2000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45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Helvetica" panose="020B0604020202020204" pitchFamily="34" charset="0"/>
                  <a:ea typeface="+mn-ea"/>
                  <a:cs typeface="Helvetica" panose="020B0604020202020204" pitchFamily="34" charset="0"/>
                </a:rPr>
                <a:t>CIRR</a:t>
              </a:r>
            </a:p>
          </p:txBody>
        </p:sp>
        <p:sp>
          <p:nvSpPr>
            <p:cNvPr id="4" name="Hexagon 3"/>
            <p:cNvSpPr/>
            <p:nvPr/>
          </p:nvSpPr>
          <p:spPr>
            <a:xfrm>
              <a:off x="4191210" y="3286966"/>
              <a:ext cx="792967" cy="683072"/>
            </a:xfrm>
            <a:prstGeom prst="hexagon">
              <a:avLst>
                <a:gd name="adj" fmla="val 28900"/>
                <a:gd name="vf" fmla="val 115470"/>
              </a:avLst>
            </a:prstGeom>
            <a:solidFill>
              <a:srgbClr val="D9D9D9"/>
            </a:solidFill>
          </p:spPr>
          <p:style>
            <a:lnRef idx="0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" name="Freeform 4"/>
            <p:cNvSpPr/>
            <p:nvPr/>
          </p:nvSpPr>
          <p:spPr>
            <a:xfrm>
              <a:off x="1440659" y="1213851"/>
              <a:ext cx="1964788" cy="1489641"/>
            </a:xfrm>
            <a:custGeom>
              <a:avLst/>
              <a:gdLst>
                <a:gd name="connsiteX0" fmla="*/ 0 w 1964788"/>
                <a:gd name="connsiteY0" fmla="*/ 744821 h 1489641"/>
                <a:gd name="connsiteX1" fmla="*/ 425590 w 1964788"/>
                <a:gd name="connsiteY1" fmla="*/ 0 h 1489641"/>
                <a:gd name="connsiteX2" fmla="*/ 1539198 w 1964788"/>
                <a:gd name="connsiteY2" fmla="*/ 0 h 1489641"/>
                <a:gd name="connsiteX3" fmla="*/ 1964788 w 1964788"/>
                <a:gd name="connsiteY3" fmla="*/ 744821 h 1489641"/>
                <a:gd name="connsiteX4" fmla="*/ 1539198 w 1964788"/>
                <a:gd name="connsiteY4" fmla="*/ 1489641 h 1489641"/>
                <a:gd name="connsiteX5" fmla="*/ 425590 w 1964788"/>
                <a:gd name="connsiteY5" fmla="*/ 1489641 h 1489641"/>
                <a:gd name="connsiteX6" fmla="*/ 0 w 1964788"/>
                <a:gd name="connsiteY6" fmla="*/ 744821 h 148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64788" h="1489641">
                  <a:moveTo>
                    <a:pt x="0" y="744821"/>
                  </a:moveTo>
                  <a:lnTo>
                    <a:pt x="425590" y="0"/>
                  </a:lnTo>
                  <a:lnTo>
                    <a:pt x="1539198" y="0"/>
                  </a:lnTo>
                  <a:lnTo>
                    <a:pt x="1964788" y="744821"/>
                  </a:lnTo>
                  <a:lnTo>
                    <a:pt x="1539198" y="1489641"/>
                  </a:lnTo>
                  <a:lnTo>
                    <a:pt x="425590" y="1489641"/>
                  </a:lnTo>
                  <a:lnTo>
                    <a:pt x="0" y="744821"/>
                  </a:lnTo>
                  <a:close/>
                </a:path>
              </a:pathLst>
            </a:custGeom>
            <a:solidFill>
              <a:srgbClr val="B51633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reflection blurRad="6350" stA="52000" endA="300" endPos="35000" dir="5400000" sy="-100000" algn="bl" rotWithShape="0"/>
            </a:effectLst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28456" tIns="254553" rIns="328456" bIns="254553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Helvetica" panose="020B0604020202020204" pitchFamily="34" charset="0"/>
                </a:rPr>
                <a:t>Ticari Referans Faiz Oranı</a:t>
              </a:r>
            </a:p>
          </p:txBody>
        </p:sp>
        <p:sp>
          <p:nvSpPr>
            <p:cNvPr id="6" name="Hexagon 5"/>
            <p:cNvSpPr/>
            <p:nvPr/>
          </p:nvSpPr>
          <p:spPr>
            <a:xfrm>
              <a:off x="2965729" y="4727749"/>
              <a:ext cx="792967" cy="683072"/>
            </a:xfrm>
            <a:prstGeom prst="hexagon">
              <a:avLst>
                <a:gd name="adj" fmla="val 28900"/>
                <a:gd name="vf" fmla="val 115470"/>
              </a:avLst>
            </a:prstGeom>
            <a:solidFill>
              <a:srgbClr val="D9D9D9"/>
            </a:solidFill>
          </p:spPr>
          <p:style>
            <a:lnRef idx="0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Freeform 6"/>
            <p:cNvSpPr/>
            <p:nvPr/>
          </p:nvSpPr>
          <p:spPr>
            <a:xfrm>
              <a:off x="3137647" y="1960432"/>
              <a:ext cx="2519941" cy="1668070"/>
            </a:xfrm>
            <a:custGeom>
              <a:avLst/>
              <a:gdLst>
                <a:gd name="connsiteX0" fmla="*/ 0 w 2519941"/>
                <a:gd name="connsiteY0" fmla="*/ 834035 h 1668070"/>
                <a:gd name="connsiteX1" fmla="*/ 476568 w 2519941"/>
                <a:gd name="connsiteY1" fmla="*/ 0 h 1668070"/>
                <a:gd name="connsiteX2" fmla="*/ 2043373 w 2519941"/>
                <a:gd name="connsiteY2" fmla="*/ 0 h 1668070"/>
                <a:gd name="connsiteX3" fmla="*/ 2519941 w 2519941"/>
                <a:gd name="connsiteY3" fmla="*/ 834035 h 1668070"/>
                <a:gd name="connsiteX4" fmla="*/ 2043373 w 2519941"/>
                <a:gd name="connsiteY4" fmla="*/ 1668070 h 1668070"/>
                <a:gd name="connsiteX5" fmla="*/ 476568 w 2519941"/>
                <a:gd name="connsiteY5" fmla="*/ 1668070 h 1668070"/>
                <a:gd name="connsiteX6" fmla="*/ 0 w 2519941"/>
                <a:gd name="connsiteY6" fmla="*/ 834035 h 1668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19941" h="1668070">
                  <a:moveTo>
                    <a:pt x="0" y="834035"/>
                  </a:moveTo>
                  <a:lnTo>
                    <a:pt x="476568" y="0"/>
                  </a:lnTo>
                  <a:lnTo>
                    <a:pt x="2043373" y="0"/>
                  </a:lnTo>
                  <a:lnTo>
                    <a:pt x="2519941" y="834035"/>
                  </a:lnTo>
                  <a:lnTo>
                    <a:pt x="2043373" y="1668070"/>
                  </a:lnTo>
                  <a:lnTo>
                    <a:pt x="476568" y="1668070"/>
                  </a:lnTo>
                  <a:lnTo>
                    <a:pt x="0" y="834035"/>
                  </a:lnTo>
                  <a:close/>
                </a:path>
              </a:pathLst>
            </a:custGeom>
            <a:solidFill>
              <a:srgbClr val="B51633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reflection blurRad="6350" stA="52000" endA="300" endPos="35000" dir="5400000" sy="-100000" algn="bl" rotWithShape="0"/>
            </a:effectLst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9171" tIns="264480" rIns="389171" bIns="26448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Helvetica" panose="020B0604020202020204" pitchFamily="34" charset="0"/>
                </a:rPr>
                <a:t>OECD Düzenlemesi kapsamındaki ihracat kredilerine yönelik uygulanan minimum faiz oranı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3169625" y="3722704"/>
              <a:ext cx="2519941" cy="1603181"/>
            </a:xfrm>
            <a:custGeom>
              <a:avLst/>
              <a:gdLst>
                <a:gd name="connsiteX0" fmla="*/ 0 w 2673257"/>
                <a:gd name="connsiteY0" fmla="*/ 801591 h 1603181"/>
                <a:gd name="connsiteX1" fmla="*/ 458029 w 2673257"/>
                <a:gd name="connsiteY1" fmla="*/ 0 h 1603181"/>
                <a:gd name="connsiteX2" fmla="*/ 2215228 w 2673257"/>
                <a:gd name="connsiteY2" fmla="*/ 0 h 1603181"/>
                <a:gd name="connsiteX3" fmla="*/ 2673257 w 2673257"/>
                <a:gd name="connsiteY3" fmla="*/ 801591 h 1603181"/>
                <a:gd name="connsiteX4" fmla="*/ 2215228 w 2673257"/>
                <a:gd name="connsiteY4" fmla="*/ 1603181 h 1603181"/>
                <a:gd name="connsiteX5" fmla="*/ 458029 w 2673257"/>
                <a:gd name="connsiteY5" fmla="*/ 1603181 h 1603181"/>
                <a:gd name="connsiteX6" fmla="*/ 0 w 2673257"/>
                <a:gd name="connsiteY6" fmla="*/ 801591 h 1603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3257" h="1603181">
                  <a:moveTo>
                    <a:pt x="0" y="801591"/>
                  </a:moveTo>
                  <a:lnTo>
                    <a:pt x="458029" y="0"/>
                  </a:lnTo>
                  <a:lnTo>
                    <a:pt x="2215228" y="0"/>
                  </a:lnTo>
                  <a:lnTo>
                    <a:pt x="2673257" y="801591"/>
                  </a:lnTo>
                  <a:lnTo>
                    <a:pt x="2215228" y="1603181"/>
                  </a:lnTo>
                  <a:lnTo>
                    <a:pt x="458029" y="1603181"/>
                  </a:lnTo>
                  <a:lnTo>
                    <a:pt x="0" y="801591"/>
                  </a:lnTo>
                  <a:close/>
                </a:path>
              </a:pathLst>
            </a:custGeom>
            <a:solidFill>
              <a:srgbClr val="B51633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reflection blurRad="6350" stA="52000" endA="300" endPos="35000" dir="5400000" sy="-100000" algn="bl" rotWithShape="0"/>
            </a:effectLst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95768" tIns="245480" rIns="395768" bIns="245480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Helvetica" panose="020B0604020202020204" pitchFamily="34" charset="0"/>
                </a:rPr>
                <a:t>Faiz Farkı: </a:t>
              </a:r>
            </a:p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Helvetica" panose="020B0604020202020204" pitchFamily="34" charset="0"/>
                </a:rPr>
                <a:t>Ticaret Bakanlığı tarafından karşılanmaktadır.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1282587" y="4615777"/>
              <a:ext cx="2185589" cy="1525407"/>
            </a:xfrm>
            <a:custGeom>
              <a:avLst/>
              <a:gdLst>
                <a:gd name="connsiteX0" fmla="*/ 0 w 2392625"/>
                <a:gd name="connsiteY0" fmla="*/ 762704 h 1525407"/>
                <a:gd name="connsiteX1" fmla="*/ 435809 w 2392625"/>
                <a:gd name="connsiteY1" fmla="*/ 0 h 1525407"/>
                <a:gd name="connsiteX2" fmla="*/ 1956816 w 2392625"/>
                <a:gd name="connsiteY2" fmla="*/ 0 h 1525407"/>
                <a:gd name="connsiteX3" fmla="*/ 2392625 w 2392625"/>
                <a:gd name="connsiteY3" fmla="*/ 762704 h 1525407"/>
                <a:gd name="connsiteX4" fmla="*/ 1956816 w 2392625"/>
                <a:gd name="connsiteY4" fmla="*/ 1525407 h 1525407"/>
                <a:gd name="connsiteX5" fmla="*/ 435809 w 2392625"/>
                <a:gd name="connsiteY5" fmla="*/ 1525407 h 1525407"/>
                <a:gd name="connsiteX6" fmla="*/ 0 w 2392625"/>
                <a:gd name="connsiteY6" fmla="*/ 762704 h 1525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92625" h="1525407">
                  <a:moveTo>
                    <a:pt x="0" y="762704"/>
                  </a:moveTo>
                  <a:lnTo>
                    <a:pt x="435809" y="0"/>
                  </a:lnTo>
                  <a:lnTo>
                    <a:pt x="1956816" y="0"/>
                  </a:lnTo>
                  <a:lnTo>
                    <a:pt x="2392625" y="762704"/>
                  </a:lnTo>
                  <a:lnTo>
                    <a:pt x="1956816" y="1525407"/>
                  </a:lnTo>
                  <a:lnTo>
                    <a:pt x="435809" y="1525407"/>
                  </a:lnTo>
                  <a:lnTo>
                    <a:pt x="0" y="762704"/>
                  </a:lnTo>
                  <a:close/>
                </a:path>
              </a:pathLst>
            </a:custGeom>
            <a:solidFill>
              <a:srgbClr val="B51633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reflection blurRad="6350" stA="52000" endA="300" endPos="35000" dir="5400000" sy="-100000" algn="bl" rotWithShape="0"/>
            </a:effectLst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4975" tIns="240053" rIns="364975" bIns="240053" numCol="1" spcCol="127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Helvetica" panose="020B0604020202020204" pitchFamily="34" charset="0"/>
                </a:rPr>
                <a:t>Destek kapsamı:</a:t>
              </a:r>
            </a:p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" panose="020B0604020202020204" pitchFamily="34" charset="0"/>
                  <a:ea typeface="+mn-ea"/>
                  <a:cs typeface="Helvetica" panose="020B0604020202020204" pitchFamily="34" charset="0"/>
                </a:rPr>
                <a:t> </a:t>
              </a:r>
              <a:r>
                <a:rPr kumimoji="0" lang="tr-T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Helvetica" panose="020B0604020202020204" pitchFamily="34" charset="0"/>
                </a:rPr>
                <a:t>Yatırım Malları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42899" y="504592"/>
            <a:ext cx="56534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RR FAİZ DESTEĞİ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6738421" y="2129214"/>
          <a:ext cx="3826816" cy="192160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744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98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24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0402">
                <a:tc>
                  <a:txBody>
                    <a:bodyPr/>
                    <a:lstStyle/>
                    <a:p>
                      <a:r>
                        <a:rPr lang="tr-TR" dirty="0"/>
                        <a:t>Vade</a:t>
                      </a:r>
                      <a:endParaRPr lang="tr-TR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   EUR</a:t>
                      </a:r>
                      <a:endParaRPr lang="tr-TR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/>
                        <a:t>   USD</a:t>
                      </a:r>
                      <a:endParaRPr lang="tr-TR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04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dirty="0"/>
                        <a:t>≤5 yıl</a:t>
                      </a:r>
                      <a:endParaRPr lang="tr-TR" b="1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dirty="0"/>
                        <a:t>%1,76</a:t>
                      </a:r>
                      <a:endParaRPr lang="tr-TR" b="1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800" kern="1200" dirty="0"/>
                        <a:t>%4,23</a:t>
                      </a:r>
                      <a:endParaRPr lang="tr-TR" sz="1800" b="1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04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dirty="0"/>
                        <a:t>&gt;5</a:t>
                      </a:r>
                      <a:r>
                        <a:rPr lang="tr-TR" baseline="0" dirty="0"/>
                        <a:t> yıl-8,5 yıl</a:t>
                      </a:r>
                      <a:endParaRPr lang="tr-TR" b="1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800" kern="1200" dirty="0"/>
                        <a:t>%1,92</a:t>
                      </a:r>
                      <a:endParaRPr lang="tr-TR" sz="1800" b="1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800" kern="1200" dirty="0"/>
                        <a:t>%4,03</a:t>
                      </a:r>
                      <a:endParaRPr lang="tr-TR" sz="1800" b="1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04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dirty="0"/>
                        <a:t>&gt;8,5</a:t>
                      </a:r>
                      <a:r>
                        <a:rPr lang="tr-TR" baseline="0" dirty="0"/>
                        <a:t> yıl</a:t>
                      </a:r>
                      <a:endParaRPr lang="tr-TR" b="1" dirty="0"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800" kern="1200" dirty="0"/>
                        <a:t>%2,07</a:t>
                      </a:r>
                      <a:endParaRPr lang="tr-TR" sz="1800" b="1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800" kern="1200" dirty="0"/>
                        <a:t>%3,98</a:t>
                      </a:r>
                      <a:endParaRPr lang="tr-TR" sz="1800" b="1" kern="1200" dirty="0">
                        <a:solidFill>
                          <a:schemeClr val="dk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1" name="Rectangle 20"/>
          <p:cNvSpPr/>
          <p:nvPr/>
        </p:nvSpPr>
        <p:spPr>
          <a:xfrm>
            <a:off x="6646981" y="4050822"/>
            <a:ext cx="437864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14/10/2022’ye tarihine kadar geçerli CIRR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23" name="Rectangle 22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27" name="Freeform 26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pic>
            <p:nvPicPr>
              <p:cNvPr id="28" name="Picture 2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45857" y="4598807"/>
                <a:ext cx="1282530" cy="797672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3509510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  <p:sp>
        <p:nvSpPr>
          <p:cNvPr id="34" name="Text Placeholder 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77800" y="196850"/>
            <a:ext cx="12192000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01600" tIns="63500" rIns="0" bIns="131763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sz="24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+mn-lt"/>
              </a:rPr>
              <a:t>BİLANÇO YAPISI ve DESTEK TUTARLARI</a:t>
            </a: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803911" y="1008864"/>
            <a:ext cx="3784600" cy="276999"/>
          </a:xfrm>
          <a:prstGeom prst="rect">
            <a:avLst/>
          </a:prstGeom>
          <a:solidFill>
            <a:srgbClr val="A60933"/>
          </a:solidFill>
          <a:ln w="3175"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  <a:sym typeface="+mn-lt"/>
              </a:rPr>
              <a:t>BANKAMIZ DESTEK TUTARLARI (Milyar $)</a:t>
            </a:r>
          </a:p>
        </p:txBody>
      </p:sp>
      <p:cxnSp>
        <p:nvCxnSpPr>
          <p:cNvPr id="36" name="Straight Connector 35"/>
          <p:cNvCxnSpPr/>
          <p:nvPr/>
        </p:nvCxnSpPr>
        <p:spPr>
          <a:xfrm flipV="1">
            <a:off x="5877312" y="1193800"/>
            <a:ext cx="0" cy="4875213"/>
          </a:xfrm>
          <a:prstGeom prst="line">
            <a:avLst/>
          </a:prstGeom>
          <a:ln w="15875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830772" y="6448427"/>
            <a:ext cx="1143299" cy="18097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0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159420" y="986864"/>
            <a:ext cx="1777846" cy="27699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KTİF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551563" y="1003680"/>
            <a:ext cx="1862137" cy="276999"/>
          </a:xfrm>
          <a:prstGeom prst="rect">
            <a:avLst/>
          </a:prstGeom>
          <a:solidFill>
            <a:srgbClr val="A6A6A6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ASİF</a:t>
            </a:r>
          </a:p>
        </p:txBody>
      </p:sp>
      <p:graphicFrame>
        <p:nvGraphicFramePr>
          <p:cNvPr id="40" name="Chart 39"/>
          <p:cNvGraphicFramePr/>
          <p:nvPr>
            <p:custDataLst>
              <p:tags r:id="rId3"/>
            </p:custDataLst>
          </p:nvPr>
        </p:nvGraphicFramePr>
        <p:xfrm>
          <a:off x="1271588" y="1763713"/>
          <a:ext cx="1581150" cy="4818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43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162175" y="6102350"/>
            <a:ext cx="271463" cy="273050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1123FB-44B7-4283-B715-3BFB91F01023}" type="datetime'''''1''''''''''''''''''''''''''''''''''4'''''''''',5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,5</a:t>
            </a:fld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/>
            </a:r>
            <a:b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</a:br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(</a:t>
            </a:r>
            <a:fld id="{98A8D3D3-6E8A-4681-A709-004C9DC1AEB5}" type="datetime'''''''''4%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%</a:t>
            </a:fld>
            <a:r>
              <a:rPr kumimoji="0" lang="tr-T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)</a:t>
            </a: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892300" y="2763838"/>
            <a:ext cx="3365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C7668D4-3F05-49A1-BDD2-E8E57CA90E3A}" type="datetime'''''157'''''',''''''''''''''''''''''0''''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7,0</a:t>
            </a:fld>
            <a:r>
              <a:rPr kumimoji="0" lang="tr-T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/>
            </a:r>
            <a:br>
              <a:rPr kumimoji="0" lang="tr-T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</a:br>
            <a:r>
              <a:rPr kumimoji="0" lang="tr-T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(</a:t>
            </a:r>
            <a:fld id="{58AF758C-F237-4DBD-BC11-EF1C3708B59D}" type="datetime'4''''''''''5''''''''''''''''''''''''%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5%</a:t>
            </a:fld>
            <a:r>
              <a:rPr kumimoji="0" lang="tr-T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)</a:t>
            </a: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892300" y="4811713"/>
            <a:ext cx="3365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92803E4-0D40-4CF6-BB08-04804282DDBD}" type="datetime'1''4''''''7'',''''''''''''''''''8''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7,8</a:t>
            </a:fld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/>
            </a:r>
            <a:b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</a:br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(</a:t>
            </a:r>
            <a:fld id="{21D2823B-AFEF-439B-992C-4B07EFF36B4F}" type="datetime'''''''''''''''''''''''''''4''''''''3''''''%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3%</a:t>
            </a:fld>
            <a:r>
              <a:rPr kumimoji="0" lang="tr-T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)</a:t>
            </a: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39913" y="6597650"/>
            <a:ext cx="4413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66A4EA5-B01F-4253-9BAA-98B696C95744}" type="datetime'''''''''''''2''''''022''''''''''''''''''''''''''-''1''2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2-12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90688" y="5903913"/>
            <a:ext cx="271463" cy="273050"/>
          </a:xfrm>
          <a:prstGeom prst="rect">
            <a:avLst/>
          </a:prstGeom>
          <a:solidFill>
            <a:srgbClr val="969696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DCDBAE5-7F37-4D96-9A5E-75176BAF6366}" type="datetime'1''''''''''''''''''''''''''''''''''5'''',''''''''''''''''''0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5,0</a:t>
            </a:fld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/>
            </a:r>
            <a:b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</a:br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(</a:t>
            </a:r>
            <a:fld id="{63F97010-323B-4489-97D8-6FACB0B1D366}" type="datetime'''''''''''''''''''''''''''''4''''%''''''''''''''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%</a:t>
            </a:fld>
            <a:r>
              <a:rPr kumimoji="0" lang="tr-T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)</a:t>
            </a: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690688" y="6281738"/>
            <a:ext cx="271463" cy="27305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99DBCCA-DB28-430E-B377-529EAB8D10B0}" type="datetime'''''''''''''''''''''''''''''''12'',''''''0''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2,0</a:t>
            </a:fld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/>
            </a:r>
            <a:b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</a:br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(</a:t>
            </a:r>
            <a:fld id="{C2B60066-35ED-4FB0-AABE-F944A719281F}" type="datetime'''''''''''''''''''''''3''''%''''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%</a:t>
            </a:fld>
            <a:r>
              <a:rPr kumimoji="0" lang="tr-T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)</a:t>
            </a: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77800" y="2832100"/>
            <a:ext cx="1309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67D7995-B25D-400F-BB6C-A0A064606032}" type="datetime'T''C''''MB'' ''Re''''''''''''''es''ko''nt Kr''e''d''''ileri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CMB Reeskont Kredileri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62000" y="4879975"/>
            <a:ext cx="7254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15078E9-A29B-459F-939B-8340F736ADC1}" type="datetime'''''Diğ''er'' ''Kr''''''ed''''''''''''''''''''''ile''''r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iğer Krediler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79388" y="6149975"/>
            <a:ext cx="1308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824AA0F-46B0-495B-8AD0-82C047578E44}" type="datetime'''''N''''''''akit'''''' ve Na''''''''kit B''enze''rl''''e''ri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Nakit ve Nakit Benzerleri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42925" y="5962650"/>
            <a:ext cx="944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68B4471-1E51-456B-AB9E-F0187150DDEF}" type="datetime'''''M''''''''''''''en''''''''''ku''''l ''''''Kıy''me''tle''r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Menkul Kıymetler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87400" y="6337300"/>
            <a:ext cx="700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829E1EC-3711-4441-86A3-765DF39C9DE8}" type="datetime'''''''''''''Diğ''''er'''' ''Ak''''''ti''f''le''r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iğer Aktifler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897063" y="1684338"/>
            <a:ext cx="328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3E6585C-D9F5-4D6B-82B9-F1DCB42A999B}" type="datetime'''''34''''''''''''''''6'''''''''''''''''''''''',''''''4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46,4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graphicFrame>
        <p:nvGraphicFramePr>
          <p:cNvPr id="55" name="Chart 54"/>
          <p:cNvGraphicFramePr/>
          <p:nvPr>
            <p:custDataLst>
              <p:tags r:id="rId16"/>
            </p:custDataLst>
          </p:nvPr>
        </p:nvGraphicFramePr>
        <p:xfrm>
          <a:off x="3700463" y="1763713"/>
          <a:ext cx="1635125" cy="4818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5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349750" y="4922838"/>
            <a:ext cx="3365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736D128-36C3-4284-BFCD-E0A0B5870F4E}" type="datetime'''''''''''''''''''1''''''''''''''''4''''9'''''''',''''''''''6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49,6</a:t>
            </a:fld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/>
            </a:r>
            <a:b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</a:br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(</a:t>
            </a:r>
            <a:fld id="{3E7F6A67-555A-4322-BC5D-70FAE7B95396}" type="datetime'''''''''''''4''''''''''''''''''''''''''''''''3''''''''%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3%</a:t>
            </a:fld>
            <a:r>
              <a:rPr kumimoji="0" lang="tr-T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)</a:t>
            </a: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349750" y="2813050"/>
            <a:ext cx="3365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60B3517-65D6-4FA8-8642-533F38DD9734}" type="datetime'''''''''''''1''''''6''''''''''''''''4'''''''''''''',4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64,4</a:t>
            </a:fld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/>
            </a:r>
            <a:b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</a:br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(</a:t>
            </a:r>
            <a:fld id="{8A91AD5C-7CF5-45F2-9884-34262799E5BE}" type="datetime'''''''''''''''''''''''''''4''7''''''''''''''%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7%</a:t>
            </a:fld>
            <a:r>
              <a:rPr kumimoji="0" lang="tr-T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)</a:t>
            </a: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170238" y="2881313"/>
            <a:ext cx="755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C6A8269-ABDA-4D84-AE6D-C28FF5057905}" type="datetime'TC''MB'''''' ''Ka''''''''''''''''''''''''ynağı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TCMB Kaynağı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629150" y="6086475"/>
            <a:ext cx="27146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2FA0F65-5B99-4C9C-8B18-CCE34A53596E}" type="datetime'''''''''''2''''''''''''''''3'''''''''''''''''''',8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3,8</a:t>
            </a:fld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/>
            </a:r>
            <a:b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</a:br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(</a:t>
            </a:r>
            <a:fld id="{38C07192-9295-4719-AD09-243BDD26688C}" type="datetime'''''''''''''''''''''''7''''''''''''''%''''''''''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%</a:t>
            </a:fld>
            <a:r>
              <a:rPr kumimoji="0" lang="tr-TR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)</a:t>
            </a: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138613" y="6303963"/>
            <a:ext cx="271463" cy="27305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8B4B00F-B3FA-4876-996A-94C3EF9DFB18}" type="datetime'8'''''''''''''''''''''''',''''6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,6</a:t>
            </a:fld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/>
            </a:r>
            <a:b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</a:br>
            <a:r>
              <a:rPr kumimoji="0" lang="tr-TR" alt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(</a:t>
            </a:r>
            <a:fld id="{34CBD5FC-92C7-4BB3-9285-6932840DE3B7}" type="datetime'''''''''''''''''''''''''''2''''''''''%''''''''''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%</a:t>
            </a:fld>
            <a:r>
              <a:rPr kumimoji="0" lang="tr-TR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)</a:t>
            </a:r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297363" y="6619875"/>
            <a:ext cx="4413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0303DC2-E9CB-4B05-933E-996744C5858B}" type="datetime'''''2''''''0''''''''''''''''''''''2''''''2-''1''''''2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2-12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025775" y="4991100"/>
            <a:ext cx="9001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B680B5B-3888-4338-8045-1644B0D4DDF1}" type="datetime'''''D''''''''i''ğ''''er'''' ''Fo''''''nla''''ma''''''''l''ar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iğer Fonlamalar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416300" y="6149975"/>
            <a:ext cx="509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A698C92-BAAA-4AE8-8C4F-AB419A915D55}" type="datetime'''''''Ö''''''''''''''''''''''zka''''''y''''''''n''''''ak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Özkaynak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225800" y="6337300"/>
            <a:ext cx="7000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AB5FA2A-CBC6-4824-9F94-77714A1164E3}" type="datetime'''''D''i''''''ğer'' ''''''''Pas''''if''''''l''''''''er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iğer Pasifler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354513" y="1684338"/>
            <a:ext cx="328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EDD3D6D-1C39-4E83-9D6C-436AB9DC6665}" type="datetime'''''''''''''''3''''4''''''''''''''6'''',''''''''4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46,4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67658" y="1003680"/>
            <a:ext cx="8870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000" b="1" i="0" u="none" strike="noStrike" kern="1200" cap="none" spc="0" normalizeH="0" baseline="0" noProof="0" dirty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ilyar TL</a:t>
            </a:r>
          </a:p>
        </p:txBody>
      </p:sp>
      <p:graphicFrame>
        <p:nvGraphicFramePr>
          <p:cNvPr id="67" name="Chart 66"/>
          <p:cNvGraphicFramePr/>
          <p:nvPr>
            <p:custDataLst>
              <p:tags r:id="rId27"/>
            </p:custDataLst>
          </p:nvPr>
        </p:nvGraphicFramePr>
        <p:xfrm>
          <a:off x="6569075" y="2051050"/>
          <a:ext cx="4397375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68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159875" y="6542088"/>
            <a:ext cx="273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217D56A-6F6A-4B1B-B4C6-13D15DD99E90}" type="datetime'''''''''''2''''''''0''''''''''''''''''''21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1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043738" y="6542088"/>
            <a:ext cx="273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2E71317-3CA5-451A-AE33-2D3F10BF239D}" type="datetime'''''''2''''''''''''''''''''01''9''''''''''''''''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19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107363" y="2019300"/>
            <a:ext cx="263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369B05-97C3-40EB-A4D6-7D6F3D413E0E}" type="datetime'4''''''5'''''''''''''''',''''''''''''''''''''''''''''''''6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5,6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02600" y="6542088"/>
            <a:ext cx="273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A7D920E-D747-4A9E-867F-F91B27788BFF}" type="datetime'''''''''''''''''''''''''''''''2''0''''''''''''''''2''''''0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0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218738" y="6542088"/>
            <a:ext cx="2730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0B850B9-9DB1-4030-BCF0-1E0AA3F1AE65}" type="datetime'2''''''''02''''2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22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354763" y="3078163"/>
            <a:ext cx="3714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C897E0-2A0A-46F9-A26F-D9F35E29368C}" type="datetime'Si''''''''''''g''''''''''''''''''o''''''r''''''''t''''a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igorta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048500" y="2160588"/>
            <a:ext cx="263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577F8EF-6273-4C9D-8FE1-E186474479B4}" type="datetime'''''''''''''4''''''''''''''4,1''''''''''''''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4,1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448425" y="5165725"/>
            <a:ext cx="277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87732FE-662A-4608-B3E6-C1E184442EFC}" type="datetime'''K''''r''''''''''''''e''d''''''''''i''''''''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545454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Kredi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545454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164638" y="1971675"/>
            <a:ext cx="263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A594FEE-838F-49E5-A66A-452B63E3B461}" type="datetime'''''''''''''''''''4''''''''''''6'''''''''''''''''',''''''1'">
              <a:rPr kumimoji="0" lang="tr-T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6,1</a:t>
            </a:fld>
            <a:endParaRPr kumimoji="0" lang="tr-TR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223500" y="2087563"/>
            <a:ext cx="263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tr-T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  <a:sym typeface="+mn-lt"/>
              </a:rPr>
              <a:t>45</a:t>
            </a:r>
          </a:p>
        </p:txBody>
      </p:sp>
    </p:spTree>
    <p:extLst>
      <p:ext uri="{BB962C8B-B14F-4D97-AF65-F5344CB8AC3E}">
        <p14:creationId xmlns:p14="http://schemas.microsoft.com/office/powerpoint/2010/main" val="1070090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2" name="Rectangle 1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rgbClr val="B51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9000">
                  <a:schemeClr val="bg1">
                    <a:lumMod val="7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9731757" y="5360258"/>
              <a:ext cx="2460243" cy="1293744"/>
              <a:chOff x="5959670" y="4283789"/>
              <a:chExt cx="2460243" cy="1293744"/>
            </a:xfrm>
            <a:solidFill>
              <a:srgbClr val="C00000"/>
            </a:solidFill>
          </p:grpSpPr>
          <p:sp>
            <p:nvSpPr>
              <p:cNvPr id="18" name="Freeform 17"/>
              <p:cNvSpPr/>
              <p:nvPr/>
            </p:nvSpPr>
            <p:spPr>
              <a:xfrm flipH="1">
                <a:off x="5959670" y="4283789"/>
                <a:ext cx="2460243" cy="1293744"/>
              </a:xfrm>
              <a:custGeom>
                <a:avLst/>
                <a:gdLst>
                  <a:gd name="connsiteX0" fmla="*/ 0 w 1328738"/>
                  <a:gd name="connsiteY0" fmla="*/ 1454727 h 1454727"/>
                  <a:gd name="connsiteX1" fmla="*/ 716395 w 1328738"/>
                  <a:gd name="connsiteY1" fmla="*/ 1454727 h 1454727"/>
                  <a:gd name="connsiteX2" fmla="*/ 748145 w 1328738"/>
                  <a:gd name="connsiteY2" fmla="*/ 1454727 h 1454727"/>
                  <a:gd name="connsiteX3" fmla="*/ 1328738 w 1328738"/>
                  <a:gd name="connsiteY3" fmla="*/ 1454727 h 1454727"/>
                  <a:gd name="connsiteX4" fmla="*/ 719333 w 1328738"/>
                  <a:gd name="connsiteY4" fmla="*/ 230345 h 1454727"/>
                  <a:gd name="connsiteX5" fmla="*/ 718750 w 1328738"/>
                  <a:gd name="connsiteY5" fmla="*/ 228467 h 1454727"/>
                  <a:gd name="connsiteX6" fmla="*/ 374073 w 1328738"/>
                  <a:gd name="connsiteY6" fmla="*/ 0 h 1454727"/>
                  <a:gd name="connsiteX7" fmla="*/ 0 w 1328738"/>
                  <a:gd name="connsiteY7" fmla="*/ 0 h 1454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8738" h="1454727">
                    <a:moveTo>
                      <a:pt x="0" y="1454727"/>
                    </a:moveTo>
                    <a:lnTo>
                      <a:pt x="716395" y="1454727"/>
                    </a:lnTo>
                    <a:lnTo>
                      <a:pt x="748145" y="1454727"/>
                    </a:lnTo>
                    <a:lnTo>
                      <a:pt x="1328738" y="1454727"/>
                    </a:lnTo>
                    <a:lnTo>
                      <a:pt x="719333" y="230345"/>
                    </a:lnTo>
                    <a:lnTo>
                      <a:pt x="718750" y="228467"/>
                    </a:lnTo>
                    <a:cubicBezTo>
                      <a:pt x="661962" y="94206"/>
                      <a:pt x="529019" y="0"/>
                      <a:pt x="374073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024895" y="4593950"/>
                <a:ext cx="1282530" cy="797672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23" name="Group 22"/>
          <p:cNvGrpSpPr/>
          <p:nvPr/>
        </p:nvGrpSpPr>
        <p:grpSpPr>
          <a:xfrm>
            <a:off x="1069241" y="1475180"/>
            <a:ext cx="6281818" cy="2111399"/>
            <a:chOff x="1022464" y="1464297"/>
            <a:chExt cx="4099340" cy="2168366"/>
          </a:xfrm>
        </p:grpSpPr>
        <p:grpSp>
          <p:nvGrpSpPr>
            <p:cNvPr id="27" name="Group 26"/>
            <p:cNvGrpSpPr/>
            <p:nvPr/>
          </p:nvGrpSpPr>
          <p:grpSpPr>
            <a:xfrm>
              <a:off x="1022464" y="1587731"/>
              <a:ext cx="2651158" cy="2044932"/>
              <a:chOff x="1022464" y="1587731"/>
              <a:chExt cx="2651158" cy="2044932"/>
            </a:xfrm>
          </p:grpSpPr>
          <p:sp>
            <p:nvSpPr>
              <p:cNvPr id="35" name="Rectangle 34"/>
              <p:cNvSpPr/>
              <p:nvPr/>
            </p:nvSpPr>
            <p:spPr>
              <a:xfrm>
                <a:off x="1022465" y="1928553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Ülke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2431640" y="1928553"/>
                <a:ext cx="1241982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amerun</a:t>
                </a: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1022465" y="2269375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lıcı Risk Kategorisi: </a:t>
                </a: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2431640" y="2269375"/>
                <a:ext cx="1241982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evlet Garantisi (SOV)</a:t>
                </a: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1022465" y="2610197"/>
                <a:ext cx="1396884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estek Türü</a:t>
                </a: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2431640" y="2610197"/>
                <a:ext cx="1241982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lıcı Kredisi</a:t>
                </a:r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1022464" y="2951019"/>
                <a:ext cx="2473155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Kullandırım</a:t>
                </a: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Dönemi</a:t>
                </a:r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2431640" y="2951019"/>
                <a:ext cx="1241982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4 ay</a:t>
                </a:r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1022465" y="3291841"/>
                <a:ext cx="1793262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Geri Ödeme Dönemi </a:t>
                </a: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2431640" y="3291841"/>
                <a:ext cx="1241982" cy="3408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r-T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20 ay</a:t>
                </a:r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1022465" y="1587731"/>
                <a:ext cx="2651156" cy="340822"/>
              </a:xfrm>
              <a:prstGeom prst="rect">
                <a:avLst/>
              </a:prstGeom>
              <a:solidFill>
                <a:srgbClr val="B51633"/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2" name="Freeform 31"/>
            <p:cNvSpPr/>
            <p:nvPr/>
          </p:nvSpPr>
          <p:spPr>
            <a:xfrm>
              <a:off x="5076825" y="1464297"/>
              <a:ext cx="44979" cy="54941"/>
            </a:xfrm>
            <a:custGeom>
              <a:avLst/>
              <a:gdLst>
                <a:gd name="connsiteX0" fmla="*/ 35719 w 44979"/>
                <a:gd name="connsiteY0" fmla="*/ 54941 h 54941"/>
                <a:gd name="connsiteX1" fmla="*/ 35719 w 44979"/>
                <a:gd name="connsiteY1" fmla="*/ 54941 h 54941"/>
                <a:gd name="connsiteX2" fmla="*/ 23813 w 44979"/>
                <a:gd name="connsiteY2" fmla="*/ 38272 h 54941"/>
                <a:gd name="connsiteX3" fmla="*/ 16669 w 44979"/>
                <a:gd name="connsiteY3" fmla="*/ 31128 h 54941"/>
                <a:gd name="connsiteX4" fmla="*/ 14288 w 44979"/>
                <a:gd name="connsiteY4" fmla="*/ 23984 h 54941"/>
                <a:gd name="connsiteX5" fmla="*/ 0 w 44979"/>
                <a:gd name="connsiteY5" fmla="*/ 16841 h 54941"/>
                <a:gd name="connsiteX6" fmla="*/ 42863 w 44979"/>
                <a:gd name="connsiteY6" fmla="*/ 12078 h 54941"/>
                <a:gd name="connsiteX7" fmla="*/ 40481 w 44979"/>
                <a:gd name="connsiteY7" fmla="*/ 31128 h 54941"/>
                <a:gd name="connsiteX8" fmla="*/ 35719 w 44979"/>
                <a:gd name="connsiteY8" fmla="*/ 54941 h 54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979" h="54941">
                  <a:moveTo>
                    <a:pt x="35719" y="54941"/>
                  </a:moveTo>
                  <a:lnTo>
                    <a:pt x="35719" y="54941"/>
                  </a:lnTo>
                  <a:cubicBezTo>
                    <a:pt x="31750" y="49385"/>
                    <a:pt x="28078" y="43604"/>
                    <a:pt x="23813" y="38272"/>
                  </a:cubicBezTo>
                  <a:cubicBezTo>
                    <a:pt x="21709" y="35642"/>
                    <a:pt x="18537" y="33930"/>
                    <a:pt x="16669" y="31128"/>
                  </a:cubicBezTo>
                  <a:cubicBezTo>
                    <a:pt x="15277" y="29039"/>
                    <a:pt x="15856" y="25944"/>
                    <a:pt x="14288" y="23984"/>
                  </a:cubicBezTo>
                  <a:cubicBezTo>
                    <a:pt x="10931" y="19788"/>
                    <a:pt x="4705" y="18409"/>
                    <a:pt x="0" y="16841"/>
                  </a:cubicBezTo>
                  <a:cubicBezTo>
                    <a:pt x="5527" y="259"/>
                    <a:pt x="5952" y="-8684"/>
                    <a:pt x="42863" y="12078"/>
                  </a:cubicBezTo>
                  <a:cubicBezTo>
                    <a:pt x="48441" y="15215"/>
                    <a:pt x="41327" y="24785"/>
                    <a:pt x="40481" y="31128"/>
                  </a:cubicBezTo>
                  <a:cubicBezTo>
                    <a:pt x="37763" y="51509"/>
                    <a:pt x="36513" y="50972"/>
                    <a:pt x="35719" y="54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1" name="TextBox 70"/>
          <p:cNvSpPr txBox="1"/>
          <p:nvPr/>
        </p:nvSpPr>
        <p:spPr>
          <a:xfrm>
            <a:off x="127386" y="6313178"/>
            <a:ext cx="96043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www.eximbank.gov.tr/#hesaplama-araclari adresinden ulaşabilirsiniz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342899" y="504592"/>
            <a:ext cx="79450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60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RNEK RİSK PRİMİ ÇALIŞMASI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0460" y="1631328"/>
            <a:ext cx="4467225" cy="3629025"/>
          </a:xfrm>
          <a:prstGeom prst="rect">
            <a:avLst/>
          </a:prstGeom>
        </p:spPr>
      </p:pic>
      <p:sp>
        <p:nvSpPr>
          <p:cNvPr id="28" name="AutoShape 222"/>
          <p:cNvSpPr>
            <a:spLocks/>
          </p:cNvSpPr>
          <p:nvPr/>
        </p:nvSpPr>
        <p:spPr bwMode="auto">
          <a:xfrm>
            <a:off x="8757843" y="3615651"/>
            <a:ext cx="386157" cy="361235"/>
          </a:xfrm>
          <a:custGeom>
            <a:avLst/>
            <a:gdLst/>
            <a:ahLst/>
            <a:cxnLst/>
            <a:rect l="0" t="0" r="r" b="b"/>
            <a:pathLst>
              <a:path w="21555" h="21600">
                <a:moveTo>
                  <a:pt x="21442" y="1428"/>
                </a:moveTo>
                <a:lnTo>
                  <a:pt x="11645" y="21063"/>
                </a:lnTo>
                <a:cubicBezTo>
                  <a:pt x="11471" y="21421"/>
                  <a:pt x="11181" y="21600"/>
                  <a:pt x="10772" y="21600"/>
                </a:cubicBezTo>
                <a:cubicBezTo>
                  <a:pt x="10722" y="21600"/>
                  <a:pt x="10645" y="21589"/>
                  <a:pt x="10544" y="21569"/>
                </a:cubicBezTo>
                <a:cubicBezTo>
                  <a:pt x="10318" y="21517"/>
                  <a:pt x="10138" y="21402"/>
                  <a:pt x="10000" y="21224"/>
                </a:cubicBezTo>
                <a:cubicBezTo>
                  <a:pt x="9862" y="21044"/>
                  <a:pt x="9793" y="20842"/>
                  <a:pt x="9793" y="20617"/>
                </a:cubicBezTo>
                <a:lnTo>
                  <a:pt x="9793" y="11782"/>
                </a:lnTo>
                <a:lnTo>
                  <a:pt x="976" y="11782"/>
                </a:lnTo>
                <a:cubicBezTo>
                  <a:pt x="752" y="11782"/>
                  <a:pt x="550" y="11713"/>
                  <a:pt x="371" y="11574"/>
                </a:cubicBezTo>
                <a:cubicBezTo>
                  <a:pt x="193" y="11436"/>
                  <a:pt x="79" y="11255"/>
                  <a:pt x="28" y="11030"/>
                </a:cubicBezTo>
                <a:cubicBezTo>
                  <a:pt x="-23" y="10805"/>
                  <a:pt x="-3" y="10590"/>
                  <a:pt x="88" y="10386"/>
                </a:cubicBezTo>
                <a:cubicBezTo>
                  <a:pt x="180" y="10181"/>
                  <a:pt x="328" y="10027"/>
                  <a:pt x="533" y="9926"/>
                </a:cubicBezTo>
                <a:lnTo>
                  <a:pt x="20126" y="107"/>
                </a:lnTo>
                <a:cubicBezTo>
                  <a:pt x="20258" y="36"/>
                  <a:pt x="20406" y="0"/>
                  <a:pt x="20569" y="0"/>
                </a:cubicBezTo>
                <a:cubicBezTo>
                  <a:pt x="20845" y="0"/>
                  <a:pt x="21075" y="98"/>
                  <a:pt x="21258" y="292"/>
                </a:cubicBezTo>
                <a:cubicBezTo>
                  <a:pt x="21411" y="435"/>
                  <a:pt x="21505" y="612"/>
                  <a:pt x="21541" y="821"/>
                </a:cubicBezTo>
                <a:cubicBezTo>
                  <a:pt x="21577" y="1031"/>
                  <a:pt x="21544" y="1233"/>
                  <a:pt x="21442" y="1428"/>
                </a:cubicBezTo>
                <a:close/>
                <a:moveTo>
                  <a:pt x="21442" y="1428"/>
                </a:move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Oval 4"/>
          <p:cNvSpPr/>
          <p:nvPr/>
        </p:nvSpPr>
        <p:spPr>
          <a:xfrm>
            <a:off x="5760459" y="4255277"/>
            <a:ext cx="1590599" cy="68925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1657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25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25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2970972" y="1773921"/>
            <a:ext cx="1638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hracatçı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723966" y="1801465"/>
            <a:ext cx="34680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malatçı -İhracatçı</a:t>
            </a:r>
          </a:p>
        </p:txBody>
      </p:sp>
      <p:grpSp>
        <p:nvGrpSpPr>
          <p:cNvPr id="35" name="Group 18"/>
          <p:cNvGrpSpPr>
            <a:grpSpLocks noChangeAspect="1"/>
          </p:cNvGrpSpPr>
          <p:nvPr/>
        </p:nvGrpSpPr>
        <p:grpSpPr bwMode="auto">
          <a:xfrm>
            <a:off x="617948" y="778810"/>
            <a:ext cx="2255923" cy="2254570"/>
            <a:chOff x="3789" y="471"/>
            <a:chExt cx="1668" cy="1667"/>
          </a:xfrm>
        </p:grpSpPr>
        <p:sp>
          <p:nvSpPr>
            <p:cNvPr id="36" name="AutoShape 17"/>
            <p:cNvSpPr>
              <a:spLocks noChangeAspect="1" noChangeArrowheads="1" noTextEdit="1"/>
            </p:cNvSpPr>
            <p:nvPr/>
          </p:nvSpPr>
          <p:spPr bwMode="auto">
            <a:xfrm>
              <a:off x="3789" y="471"/>
              <a:ext cx="1668" cy="1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19"/>
            <p:cNvSpPr>
              <a:spLocks noEditPoints="1"/>
            </p:cNvSpPr>
            <p:nvPr/>
          </p:nvSpPr>
          <p:spPr bwMode="auto">
            <a:xfrm>
              <a:off x="3793" y="1018"/>
              <a:ext cx="1644" cy="596"/>
            </a:xfrm>
            <a:custGeom>
              <a:avLst/>
              <a:gdLst>
                <a:gd name="T0" fmla="*/ 430 w 3306"/>
                <a:gd name="T1" fmla="*/ 43 h 1199"/>
                <a:gd name="T2" fmla="*/ 319 w 3306"/>
                <a:gd name="T3" fmla="*/ 62 h 1199"/>
                <a:gd name="T4" fmla="*/ 147 w 3306"/>
                <a:gd name="T5" fmla="*/ 87 h 1199"/>
                <a:gd name="T6" fmla="*/ 126 w 3306"/>
                <a:gd name="T7" fmla="*/ 167 h 1199"/>
                <a:gd name="T8" fmla="*/ 175 w 3306"/>
                <a:gd name="T9" fmla="*/ 218 h 1199"/>
                <a:gd name="T10" fmla="*/ 172 w 3306"/>
                <a:gd name="T11" fmla="*/ 725 h 1199"/>
                <a:gd name="T12" fmla="*/ 0 w 3306"/>
                <a:gd name="T13" fmla="*/ 708 h 1199"/>
                <a:gd name="T14" fmla="*/ 89 w 3306"/>
                <a:gd name="T15" fmla="*/ 1175 h 1199"/>
                <a:gd name="T16" fmla="*/ 1542 w 3306"/>
                <a:gd name="T17" fmla="*/ 1198 h 1199"/>
                <a:gd name="T18" fmla="*/ 2946 w 3306"/>
                <a:gd name="T19" fmla="*/ 1179 h 1199"/>
                <a:gd name="T20" fmla="*/ 3120 w 3306"/>
                <a:gd name="T21" fmla="*/ 1083 h 1199"/>
                <a:gd name="T22" fmla="*/ 3283 w 3306"/>
                <a:gd name="T23" fmla="*/ 852 h 1199"/>
                <a:gd name="T24" fmla="*/ 3304 w 3306"/>
                <a:gd name="T25" fmla="*/ 751 h 1199"/>
                <a:gd name="T26" fmla="*/ 3225 w 3306"/>
                <a:gd name="T27" fmla="*/ 720 h 1199"/>
                <a:gd name="T28" fmla="*/ 3019 w 3306"/>
                <a:gd name="T29" fmla="*/ 728 h 1199"/>
                <a:gd name="T30" fmla="*/ 2920 w 3306"/>
                <a:gd name="T31" fmla="*/ 780 h 1199"/>
                <a:gd name="T32" fmla="*/ 2709 w 3306"/>
                <a:gd name="T33" fmla="*/ 733 h 1199"/>
                <a:gd name="T34" fmla="*/ 2518 w 3306"/>
                <a:gd name="T35" fmla="*/ 856 h 1199"/>
                <a:gd name="T36" fmla="*/ 2500 w 3306"/>
                <a:gd name="T37" fmla="*/ 856 h 1199"/>
                <a:gd name="T38" fmla="*/ 2309 w 3306"/>
                <a:gd name="T39" fmla="*/ 733 h 1199"/>
                <a:gd name="T40" fmla="*/ 2118 w 3306"/>
                <a:gd name="T41" fmla="*/ 856 h 1199"/>
                <a:gd name="T42" fmla="*/ 2100 w 3306"/>
                <a:gd name="T43" fmla="*/ 856 h 1199"/>
                <a:gd name="T44" fmla="*/ 1909 w 3306"/>
                <a:gd name="T45" fmla="*/ 733 h 1199"/>
                <a:gd name="T46" fmla="*/ 1718 w 3306"/>
                <a:gd name="T47" fmla="*/ 856 h 1199"/>
                <a:gd name="T48" fmla="*/ 1700 w 3306"/>
                <a:gd name="T49" fmla="*/ 856 h 1199"/>
                <a:gd name="T50" fmla="*/ 1509 w 3306"/>
                <a:gd name="T51" fmla="*/ 733 h 1199"/>
                <a:gd name="T52" fmla="*/ 1318 w 3306"/>
                <a:gd name="T53" fmla="*/ 856 h 1199"/>
                <a:gd name="T54" fmla="*/ 1300 w 3306"/>
                <a:gd name="T55" fmla="*/ 856 h 1199"/>
                <a:gd name="T56" fmla="*/ 1077 w 3306"/>
                <a:gd name="T57" fmla="*/ 733 h 1199"/>
                <a:gd name="T58" fmla="*/ 856 w 3306"/>
                <a:gd name="T59" fmla="*/ 758 h 1199"/>
                <a:gd name="T60" fmla="*/ 843 w 3306"/>
                <a:gd name="T61" fmla="*/ 761 h 1199"/>
                <a:gd name="T62" fmla="*/ 800 w 3306"/>
                <a:gd name="T63" fmla="*/ 733 h 1199"/>
                <a:gd name="T64" fmla="*/ 757 w 3306"/>
                <a:gd name="T65" fmla="*/ 385 h 1199"/>
                <a:gd name="T66" fmla="*/ 718 w 3306"/>
                <a:gd name="T67" fmla="*/ 333 h 1199"/>
                <a:gd name="T68" fmla="*/ 692 w 3306"/>
                <a:gd name="T69" fmla="*/ 300 h 1199"/>
                <a:gd name="T70" fmla="*/ 718 w 3306"/>
                <a:gd name="T71" fmla="*/ 267 h 1199"/>
                <a:gd name="T72" fmla="*/ 759 w 3306"/>
                <a:gd name="T73" fmla="*/ 252 h 1199"/>
                <a:gd name="T74" fmla="*/ 822 w 3306"/>
                <a:gd name="T75" fmla="*/ 214 h 1199"/>
                <a:gd name="T76" fmla="*/ 859 w 3306"/>
                <a:gd name="T77" fmla="*/ 160 h 1199"/>
                <a:gd name="T78" fmla="*/ 829 w 3306"/>
                <a:gd name="T79" fmla="*/ 90 h 1199"/>
                <a:gd name="T80" fmla="*/ 649 w 3306"/>
                <a:gd name="T81" fmla="*/ 67 h 1199"/>
                <a:gd name="T82" fmla="*/ 492 w 3306"/>
                <a:gd name="T83" fmla="*/ 50 h 1199"/>
                <a:gd name="T84" fmla="*/ 559 w 3306"/>
                <a:gd name="T85" fmla="*/ 33 h 1199"/>
                <a:gd name="T86" fmla="*/ 625 w 3306"/>
                <a:gd name="T87" fmla="*/ 17 h 1199"/>
                <a:gd name="T88" fmla="*/ 509 w 3306"/>
                <a:gd name="T89" fmla="*/ 0 h 1199"/>
                <a:gd name="T90" fmla="*/ 392 w 3306"/>
                <a:gd name="T91" fmla="*/ 15 h 1199"/>
                <a:gd name="T92" fmla="*/ 526 w 3306"/>
                <a:gd name="T93" fmla="*/ 331 h 1199"/>
                <a:gd name="T94" fmla="*/ 358 w 3306"/>
                <a:gd name="T95" fmla="*/ 331 h 1199"/>
                <a:gd name="T96" fmla="*/ 326 w 3306"/>
                <a:gd name="T97" fmla="*/ 290 h 1199"/>
                <a:gd name="T98" fmla="*/ 442 w 3306"/>
                <a:gd name="T99" fmla="*/ 267 h 1199"/>
                <a:gd name="T100" fmla="*/ 558 w 3306"/>
                <a:gd name="T101" fmla="*/ 290 h 1199"/>
                <a:gd name="T102" fmla="*/ 654 w 3306"/>
                <a:gd name="T103" fmla="*/ 320 h 1199"/>
                <a:gd name="T104" fmla="*/ 618 w 3306"/>
                <a:gd name="T105" fmla="*/ 333 h 1199"/>
                <a:gd name="T106" fmla="*/ 592 w 3306"/>
                <a:gd name="T107" fmla="*/ 300 h 1199"/>
                <a:gd name="T108" fmla="*/ 618 w 3306"/>
                <a:gd name="T109" fmla="*/ 267 h 1199"/>
                <a:gd name="T110" fmla="*/ 654 w 3306"/>
                <a:gd name="T111" fmla="*/ 280 h 1199"/>
                <a:gd name="T112" fmla="*/ 2799 w 3306"/>
                <a:gd name="T113" fmla="*/ 921 h 1199"/>
                <a:gd name="T114" fmla="*/ 1502 w 3306"/>
                <a:gd name="T115" fmla="*/ 933 h 1199"/>
                <a:gd name="T116" fmla="*/ 1018 w 3306"/>
                <a:gd name="T117" fmla="*/ 912 h 1199"/>
                <a:gd name="T118" fmla="*/ 2315 w 3306"/>
                <a:gd name="T119" fmla="*/ 901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06" h="1199">
                  <a:moveTo>
                    <a:pt x="392" y="15"/>
                  </a:moveTo>
                  <a:lnTo>
                    <a:pt x="394" y="22"/>
                  </a:lnTo>
                  <a:lnTo>
                    <a:pt x="415" y="37"/>
                  </a:lnTo>
                  <a:lnTo>
                    <a:pt x="430" y="43"/>
                  </a:lnTo>
                  <a:lnTo>
                    <a:pt x="438" y="46"/>
                  </a:lnTo>
                  <a:lnTo>
                    <a:pt x="434" y="52"/>
                  </a:lnTo>
                  <a:lnTo>
                    <a:pt x="387" y="59"/>
                  </a:lnTo>
                  <a:lnTo>
                    <a:pt x="319" y="62"/>
                  </a:lnTo>
                  <a:lnTo>
                    <a:pt x="257" y="65"/>
                  </a:lnTo>
                  <a:lnTo>
                    <a:pt x="184" y="75"/>
                  </a:lnTo>
                  <a:lnTo>
                    <a:pt x="153" y="83"/>
                  </a:lnTo>
                  <a:lnTo>
                    <a:pt x="147" y="87"/>
                  </a:lnTo>
                  <a:lnTo>
                    <a:pt x="138" y="97"/>
                  </a:lnTo>
                  <a:lnTo>
                    <a:pt x="127" y="133"/>
                  </a:lnTo>
                  <a:lnTo>
                    <a:pt x="125" y="153"/>
                  </a:lnTo>
                  <a:lnTo>
                    <a:pt x="126" y="167"/>
                  </a:lnTo>
                  <a:lnTo>
                    <a:pt x="130" y="187"/>
                  </a:lnTo>
                  <a:lnTo>
                    <a:pt x="142" y="202"/>
                  </a:lnTo>
                  <a:lnTo>
                    <a:pt x="161" y="213"/>
                  </a:lnTo>
                  <a:lnTo>
                    <a:pt x="175" y="218"/>
                  </a:lnTo>
                  <a:lnTo>
                    <a:pt x="225" y="237"/>
                  </a:lnTo>
                  <a:lnTo>
                    <a:pt x="225" y="487"/>
                  </a:lnTo>
                  <a:lnTo>
                    <a:pt x="225" y="737"/>
                  </a:lnTo>
                  <a:lnTo>
                    <a:pt x="172" y="725"/>
                  </a:lnTo>
                  <a:lnTo>
                    <a:pt x="147" y="719"/>
                  </a:lnTo>
                  <a:lnTo>
                    <a:pt x="85" y="712"/>
                  </a:lnTo>
                  <a:lnTo>
                    <a:pt x="59" y="710"/>
                  </a:lnTo>
                  <a:lnTo>
                    <a:pt x="0" y="708"/>
                  </a:lnTo>
                  <a:lnTo>
                    <a:pt x="0" y="925"/>
                  </a:lnTo>
                  <a:lnTo>
                    <a:pt x="0" y="1140"/>
                  </a:lnTo>
                  <a:lnTo>
                    <a:pt x="75" y="1170"/>
                  </a:lnTo>
                  <a:lnTo>
                    <a:pt x="89" y="1175"/>
                  </a:lnTo>
                  <a:lnTo>
                    <a:pt x="126" y="1182"/>
                  </a:lnTo>
                  <a:lnTo>
                    <a:pt x="226" y="1190"/>
                  </a:lnTo>
                  <a:lnTo>
                    <a:pt x="729" y="1198"/>
                  </a:lnTo>
                  <a:lnTo>
                    <a:pt x="1542" y="1198"/>
                  </a:lnTo>
                  <a:lnTo>
                    <a:pt x="2082" y="1199"/>
                  </a:lnTo>
                  <a:lnTo>
                    <a:pt x="2590" y="1197"/>
                  </a:lnTo>
                  <a:lnTo>
                    <a:pt x="2807" y="1191"/>
                  </a:lnTo>
                  <a:lnTo>
                    <a:pt x="2946" y="1179"/>
                  </a:lnTo>
                  <a:lnTo>
                    <a:pt x="3011" y="1163"/>
                  </a:lnTo>
                  <a:lnTo>
                    <a:pt x="3043" y="1151"/>
                  </a:lnTo>
                  <a:lnTo>
                    <a:pt x="3079" y="1126"/>
                  </a:lnTo>
                  <a:lnTo>
                    <a:pt x="3120" y="1083"/>
                  </a:lnTo>
                  <a:lnTo>
                    <a:pt x="3145" y="1055"/>
                  </a:lnTo>
                  <a:lnTo>
                    <a:pt x="3178" y="1017"/>
                  </a:lnTo>
                  <a:lnTo>
                    <a:pt x="3238" y="934"/>
                  </a:lnTo>
                  <a:lnTo>
                    <a:pt x="3283" y="852"/>
                  </a:lnTo>
                  <a:lnTo>
                    <a:pt x="3302" y="800"/>
                  </a:lnTo>
                  <a:lnTo>
                    <a:pt x="3306" y="772"/>
                  </a:lnTo>
                  <a:lnTo>
                    <a:pt x="3305" y="762"/>
                  </a:lnTo>
                  <a:lnTo>
                    <a:pt x="3304" y="751"/>
                  </a:lnTo>
                  <a:lnTo>
                    <a:pt x="3295" y="736"/>
                  </a:lnTo>
                  <a:lnTo>
                    <a:pt x="3277" y="727"/>
                  </a:lnTo>
                  <a:lnTo>
                    <a:pt x="3247" y="721"/>
                  </a:lnTo>
                  <a:lnTo>
                    <a:pt x="3225" y="720"/>
                  </a:lnTo>
                  <a:lnTo>
                    <a:pt x="3189" y="718"/>
                  </a:lnTo>
                  <a:lnTo>
                    <a:pt x="3094" y="721"/>
                  </a:lnTo>
                  <a:lnTo>
                    <a:pt x="3049" y="725"/>
                  </a:lnTo>
                  <a:lnTo>
                    <a:pt x="3019" y="728"/>
                  </a:lnTo>
                  <a:lnTo>
                    <a:pt x="2976" y="736"/>
                  </a:lnTo>
                  <a:lnTo>
                    <a:pt x="2948" y="748"/>
                  </a:lnTo>
                  <a:lnTo>
                    <a:pt x="2929" y="767"/>
                  </a:lnTo>
                  <a:lnTo>
                    <a:pt x="2920" y="780"/>
                  </a:lnTo>
                  <a:lnTo>
                    <a:pt x="2894" y="825"/>
                  </a:lnTo>
                  <a:lnTo>
                    <a:pt x="2892" y="778"/>
                  </a:lnTo>
                  <a:lnTo>
                    <a:pt x="2892" y="733"/>
                  </a:lnTo>
                  <a:lnTo>
                    <a:pt x="2709" y="733"/>
                  </a:lnTo>
                  <a:lnTo>
                    <a:pt x="2525" y="733"/>
                  </a:lnTo>
                  <a:lnTo>
                    <a:pt x="2525" y="800"/>
                  </a:lnTo>
                  <a:lnTo>
                    <a:pt x="2524" y="827"/>
                  </a:lnTo>
                  <a:lnTo>
                    <a:pt x="2518" y="856"/>
                  </a:lnTo>
                  <a:lnTo>
                    <a:pt x="2512" y="866"/>
                  </a:lnTo>
                  <a:lnTo>
                    <a:pt x="2509" y="867"/>
                  </a:lnTo>
                  <a:lnTo>
                    <a:pt x="2506" y="866"/>
                  </a:lnTo>
                  <a:lnTo>
                    <a:pt x="2500" y="856"/>
                  </a:lnTo>
                  <a:lnTo>
                    <a:pt x="2493" y="827"/>
                  </a:lnTo>
                  <a:lnTo>
                    <a:pt x="2492" y="800"/>
                  </a:lnTo>
                  <a:lnTo>
                    <a:pt x="2492" y="733"/>
                  </a:lnTo>
                  <a:lnTo>
                    <a:pt x="2309" y="733"/>
                  </a:lnTo>
                  <a:lnTo>
                    <a:pt x="2125" y="733"/>
                  </a:lnTo>
                  <a:lnTo>
                    <a:pt x="2125" y="800"/>
                  </a:lnTo>
                  <a:lnTo>
                    <a:pt x="2124" y="827"/>
                  </a:lnTo>
                  <a:lnTo>
                    <a:pt x="2118" y="856"/>
                  </a:lnTo>
                  <a:lnTo>
                    <a:pt x="2112" y="866"/>
                  </a:lnTo>
                  <a:lnTo>
                    <a:pt x="2109" y="867"/>
                  </a:lnTo>
                  <a:lnTo>
                    <a:pt x="2106" y="866"/>
                  </a:lnTo>
                  <a:lnTo>
                    <a:pt x="2100" y="856"/>
                  </a:lnTo>
                  <a:lnTo>
                    <a:pt x="2093" y="827"/>
                  </a:lnTo>
                  <a:lnTo>
                    <a:pt x="2092" y="800"/>
                  </a:lnTo>
                  <a:lnTo>
                    <a:pt x="2092" y="733"/>
                  </a:lnTo>
                  <a:lnTo>
                    <a:pt x="1909" y="733"/>
                  </a:lnTo>
                  <a:lnTo>
                    <a:pt x="1725" y="733"/>
                  </a:lnTo>
                  <a:lnTo>
                    <a:pt x="1725" y="800"/>
                  </a:lnTo>
                  <a:lnTo>
                    <a:pt x="1724" y="827"/>
                  </a:lnTo>
                  <a:lnTo>
                    <a:pt x="1718" y="856"/>
                  </a:lnTo>
                  <a:lnTo>
                    <a:pt x="1712" y="866"/>
                  </a:lnTo>
                  <a:lnTo>
                    <a:pt x="1709" y="867"/>
                  </a:lnTo>
                  <a:lnTo>
                    <a:pt x="1706" y="866"/>
                  </a:lnTo>
                  <a:lnTo>
                    <a:pt x="1700" y="856"/>
                  </a:lnTo>
                  <a:lnTo>
                    <a:pt x="1693" y="827"/>
                  </a:lnTo>
                  <a:lnTo>
                    <a:pt x="1692" y="800"/>
                  </a:lnTo>
                  <a:lnTo>
                    <a:pt x="1692" y="733"/>
                  </a:lnTo>
                  <a:lnTo>
                    <a:pt x="1509" y="733"/>
                  </a:lnTo>
                  <a:lnTo>
                    <a:pt x="1325" y="733"/>
                  </a:lnTo>
                  <a:lnTo>
                    <a:pt x="1325" y="800"/>
                  </a:lnTo>
                  <a:lnTo>
                    <a:pt x="1324" y="827"/>
                  </a:lnTo>
                  <a:lnTo>
                    <a:pt x="1318" y="856"/>
                  </a:lnTo>
                  <a:lnTo>
                    <a:pt x="1312" y="866"/>
                  </a:lnTo>
                  <a:lnTo>
                    <a:pt x="1309" y="867"/>
                  </a:lnTo>
                  <a:lnTo>
                    <a:pt x="1306" y="866"/>
                  </a:lnTo>
                  <a:lnTo>
                    <a:pt x="1300" y="856"/>
                  </a:lnTo>
                  <a:lnTo>
                    <a:pt x="1293" y="827"/>
                  </a:lnTo>
                  <a:lnTo>
                    <a:pt x="1292" y="800"/>
                  </a:lnTo>
                  <a:lnTo>
                    <a:pt x="1292" y="733"/>
                  </a:lnTo>
                  <a:lnTo>
                    <a:pt x="1077" y="733"/>
                  </a:lnTo>
                  <a:lnTo>
                    <a:pt x="1005" y="733"/>
                  </a:lnTo>
                  <a:lnTo>
                    <a:pt x="914" y="735"/>
                  </a:lnTo>
                  <a:lnTo>
                    <a:pt x="871" y="743"/>
                  </a:lnTo>
                  <a:lnTo>
                    <a:pt x="856" y="758"/>
                  </a:lnTo>
                  <a:lnTo>
                    <a:pt x="854" y="770"/>
                  </a:lnTo>
                  <a:lnTo>
                    <a:pt x="847" y="808"/>
                  </a:lnTo>
                  <a:lnTo>
                    <a:pt x="844" y="770"/>
                  </a:lnTo>
                  <a:lnTo>
                    <a:pt x="843" y="761"/>
                  </a:lnTo>
                  <a:lnTo>
                    <a:pt x="838" y="746"/>
                  </a:lnTo>
                  <a:lnTo>
                    <a:pt x="828" y="738"/>
                  </a:lnTo>
                  <a:lnTo>
                    <a:pt x="812" y="734"/>
                  </a:lnTo>
                  <a:lnTo>
                    <a:pt x="800" y="733"/>
                  </a:lnTo>
                  <a:lnTo>
                    <a:pt x="759" y="733"/>
                  </a:lnTo>
                  <a:lnTo>
                    <a:pt x="759" y="533"/>
                  </a:lnTo>
                  <a:lnTo>
                    <a:pt x="759" y="468"/>
                  </a:lnTo>
                  <a:lnTo>
                    <a:pt x="757" y="385"/>
                  </a:lnTo>
                  <a:lnTo>
                    <a:pt x="750" y="346"/>
                  </a:lnTo>
                  <a:lnTo>
                    <a:pt x="736" y="334"/>
                  </a:lnTo>
                  <a:lnTo>
                    <a:pt x="725" y="333"/>
                  </a:lnTo>
                  <a:lnTo>
                    <a:pt x="718" y="333"/>
                  </a:lnTo>
                  <a:lnTo>
                    <a:pt x="705" y="329"/>
                  </a:lnTo>
                  <a:lnTo>
                    <a:pt x="697" y="320"/>
                  </a:lnTo>
                  <a:lnTo>
                    <a:pt x="692" y="308"/>
                  </a:lnTo>
                  <a:lnTo>
                    <a:pt x="692" y="300"/>
                  </a:lnTo>
                  <a:lnTo>
                    <a:pt x="692" y="292"/>
                  </a:lnTo>
                  <a:lnTo>
                    <a:pt x="697" y="280"/>
                  </a:lnTo>
                  <a:lnTo>
                    <a:pt x="705" y="271"/>
                  </a:lnTo>
                  <a:lnTo>
                    <a:pt x="718" y="267"/>
                  </a:lnTo>
                  <a:lnTo>
                    <a:pt x="725" y="267"/>
                  </a:lnTo>
                  <a:lnTo>
                    <a:pt x="739" y="266"/>
                  </a:lnTo>
                  <a:lnTo>
                    <a:pt x="757" y="258"/>
                  </a:lnTo>
                  <a:lnTo>
                    <a:pt x="759" y="252"/>
                  </a:lnTo>
                  <a:lnTo>
                    <a:pt x="762" y="245"/>
                  </a:lnTo>
                  <a:lnTo>
                    <a:pt x="789" y="226"/>
                  </a:lnTo>
                  <a:lnTo>
                    <a:pt x="809" y="218"/>
                  </a:lnTo>
                  <a:lnTo>
                    <a:pt x="822" y="214"/>
                  </a:lnTo>
                  <a:lnTo>
                    <a:pt x="841" y="203"/>
                  </a:lnTo>
                  <a:lnTo>
                    <a:pt x="853" y="189"/>
                  </a:lnTo>
                  <a:lnTo>
                    <a:pt x="858" y="171"/>
                  </a:lnTo>
                  <a:lnTo>
                    <a:pt x="859" y="160"/>
                  </a:lnTo>
                  <a:lnTo>
                    <a:pt x="858" y="146"/>
                  </a:lnTo>
                  <a:lnTo>
                    <a:pt x="854" y="123"/>
                  </a:lnTo>
                  <a:lnTo>
                    <a:pt x="845" y="104"/>
                  </a:lnTo>
                  <a:lnTo>
                    <a:pt x="829" y="90"/>
                  </a:lnTo>
                  <a:lnTo>
                    <a:pt x="806" y="80"/>
                  </a:lnTo>
                  <a:lnTo>
                    <a:pt x="774" y="73"/>
                  </a:lnTo>
                  <a:lnTo>
                    <a:pt x="709" y="67"/>
                  </a:lnTo>
                  <a:lnTo>
                    <a:pt x="649" y="67"/>
                  </a:lnTo>
                  <a:lnTo>
                    <a:pt x="582" y="66"/>
                  </a:lnTo>
                  <a:lnTo>
                    <a:pt x="516" y="60"/>
                  </a:lnTo>
                  <a:lnTo>
                    <a:pt x="494" y="54"/>
                  </a:lnTo>
                  <a:lnTo>
                    <a:pt x="492" y="50"/>
                  </a:lnTo>
                  <a:lnTo>
                    <a:pt x="493" y="46"/>
                  </a:lnTo>
                  <a:lnTo>
                    <a:pt x="503" y="40"/>
                  </a:lnTo>
                  <a:lnTo>
                    <a:pt x="532" y="34"/>
                  </a:lnTo>
                  <a:lnTo>
                    <a:pt x="559" y="33"/>
                  </a:lnTo>
                  <a:lnTo>
                    <a:pt x="585" y="32"/>
                  </a:lnTo>
                  <a:lnTo>
                    <a:pt x="614" y="26"/>
                  </a:lnTo>
                  <a:lnTo>
                    <a:pt x="624" y="20"/>
                  </a:lnTo>
                  <a:lnTo>
                    <a:pt x="625" y="17"/>
                  </a:lnTo>
                  <a:lnTo>
                    <a:pt x="624" y="13"/>
                  </a:lnTo>
                  <a:lnTo>
                    <a:pt x="607" y="7"/>
                  </a:lnTo>
                  <a:lnTo>
                    <a:pt x="557" y="1"/>
                  </a:lnTo>
                  <a:lnTo>
                    <a:pt x="509" y="0"/>
                  </a:lnTo>
                  <a:lnTo>
                    <a:pt x="462" y="1"/>
                  </a:lnTo>
                  <a:lnTo>
                    <a:pt x="412" y="7"/>
                  </a:lnTo>
                  <a:lnTo>
                    <a:pt x="394" y="12"/>
                  </a:lnTo>
                  <a:lnTo>
                    <a:pt x="392" y="15"/>
                  </a:lnTo>
                  <a:close/>
                  <a:moveTo>
                    <a:pt x="559" y="300"/>
                  </a:moveTo>
                  <a:lnTo>
                    <a:pt x="558" y="310"/>
                  </a:lnTo>
                  <a:lnTo>
                    <a:pt x="550" y="324"/>
                  </a:lnTo>
                  <a:lnTo>
                    <a:pt x="526" y="331"/>
                  </a:lnTo>
                  <a:lnTo>
                    <a:pt x="478" y="333"/>
                  </a:lnTo>
                  <a:lnTo>
                    <a:pt x="442" y="333"/>
                  </a:lnTo>
                  <a:lnTo>
                    <a:pt x="406" y="333"/>
                  </a:lnTo>
                  <a:lnTo>
                    <a:pt x="358" y="331"/>
                  </a:lnTo>
                  <a:lnTo>
                    <a:pt x="334" y="324"/>
                  </a:lnTo>
                  <a:lnTo>
                    <a:pt x="326" y="310"/>
                  </a:lnTo>
                  <a:lnTo>
                    <a:pt x="325" y="300"/>
                  </a:lnTo>
                  <a:lnTo>
                    <a:pt x="326" y="290"/>
                  </a:lnTo>
                  <a:lnTo>
                    <a:pt x="334" y="276"/>
                  </a:lnTo>
                  <a:lnTo>
                    <a:pt x="358" y="269"/>
                  </a:lnTo>
                  <a:lnTo>
                    <a:pt x="406" y="267"/>
                  </a:lnTo>
                  <a:lnTo>
                    <a:pt x="442" y="267"/>
                  </a:lnTo>
                  <a:lnTo>
                    <a:pt x="478" y="267"/>
                  </a:lnTo>
                  <a:lnTo>
                    <a:pt x="526" y="269"/>
                  </a:lnTo>
                  <a:lnTo>
                    <a:pt x="550" y="276"/>
                  </a:lnTo>
                  <a:lnTo>
                    <a:pt x="558" y="290"/>
                  </a:lnTo>
                  <a:lnTo>
                    <a:pt x="559" y="300"/>
                  </a:lnTo>
                  <a:close/>
                  <a:moveTo>
                    <a:pt x="659" y="300"/>
                  </a:moveTo>
                  <a:lnTo>
                    <a:pt x="658" y="308"/>
                  </a:lnTo>
                  <a:lnTo>
                    <a:pt x="654" y="320"/>
                  </a:lnTo>
                  <a:lnTo>
                    <a:pt x="646" y="329"/>
                  </a:lnTo>
                  <a:lnTo>
                    <a:pt x="633" y="333"/>
                  </a:lnTo>
                  <a:lnTo>
                    <a:pt x="625" y="333"/>
                  </a:lnTo>
                  <a:lnTo>
                    <a:pt x="618" y="333"/>
                  </a:lnTo>
                  <a:lnTo>
                    <a:pt x="605" y="329"/>
                  </a:lnTo>
                  <a:lnTo>
                    <a:pt x="597" y="320"/>
                  </a:lnTo>
                  <a:lnTo>
                    <a:pt x="592" y="308"/>
                  </a:lnTo>
                  <a:lnTo>
                    <a:pt x="592" y="300"/>
                  </a:lnTo>
                  <a:lnTo>
                    <a:pt x="592" y="292"/>
                  </a:lnTo>
                  <a:lnTo>
                    <a:pt x="597" y="280"/>
                  </a:lnTo>
                  <a:lnTo>
                    <a:pt x="605" y="271"/>
                  </a:lnTo>
                  <a:lnTo>
                    <a:pt x="618" y="267"/>
                  </a:lnTo>
                  <a:lnTo>
                    <a:pt x="625" y="267"/>
                  </a:lnTo>
                  <a:lnTo>
                    <a:pt x="633" y="267"/>
                  </a:lnTo>
                  <a:lnTo>
                    <a:pt x="646" y="271"/>
                  </a:lnTo>
                  <a:lnTo>
                    <a:pt x="654" y="280"/>
                  </a:lnTo>
                  <a:lnTo>
                    <a:pt x="658" y="292"/>
                  </a:lnTo>
                  <a:lnTo>
                    <a:pt x="659" y="300"/>
                  </a:lnTo>
                  <a:close/>
                  <a:moveTo>
                    <a:pt x="2809" y="917"/>
                  </a:moveTo>
                  <a:lnTo>
                    <a:pt x="2799" y="921"/>
                  </a:lnTo>
                  <a:lnTo>
                    <a:pt x="2684" y="927"/>
                  </a:lnTo>
                  <a:lnTo>
                    <a:pt x="2315" y="933"/>
                  </a:lnTo>
                  <a:lnTo>
                    <a:pt x="1909" y="933"/>
                  </a:lnTo>
                  <a:lnTo>
                    <a:pt x="1502" y="933"/>
                  </a:lnTo>
                  <a:lnTo>
                    <a:pt x="1134" y="927"/>
                  </a:lnTo>
                  <a:lnTo>
                    <a:pt x="1018" y="921"/>
                  </a:lnTo>
                  <a:lnTo>
                    <a:pt x="1009" y="917"/>
                  </a:lnTo>
                  <a:lnTo>
                    <a:pt x="1018" y="912"/>
                  </a:lnTo>
                  <a:lnTo>
                    <a:pt x="1134" y="906"/>
                  </a:lnTo>
                  <a:lnTo>
                    <a:pt x="1502" y="901"/>
                  </a:lnTo>
                  <a:lnTo>
                    <a:pt x="1909" y="900"/>
                  </a:lnTo>
                  <a:lnTo>
                    <a:pt x="2315" y="901"/>
                  </a:lnTo>
                  <a:lnTo>
                    <a:pt x="2684" y="906"/>
                  </a:lnTo>
                  <a:lnTo>
                    <a:pt x="2799" y="912"/>
                  </a:lnTo>
                  <a:lnTo>
                    <a:pt x="2809" y="917"/>
                  </a:lnTo>
                  <a:close/>
                </a:path>
              </a:pathLst>
            </a:custGeom>
            <a:gradFill>
              <a:gsLst>
                <a:gs pos="14000">
                  <a:schemeClr val="bg2">
                    <a:lumMod val="50000"/>
                  </a:schemeClr>
                </a:gs>
                <a:gs pos="96000">
                  <a:schemeClr val="bg1">
                    <a:lumMod val="75000"/>
                  </a:scheme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6586701" y="943342"/>
            <a:ext cx="2144071" cy="2783568"/>
            <a:chOff x="779463" y="3457575"/>
            <a:chExt cx="2647950" cy="3466306"/>
          </a:xfrm>
        </p:grpSpPr>
        <p:grpSp>
          <p:nvGrpSpPr>
            <p:cNvPr id="29" name="Group 11"/>
            <p:cNvGrpSpPr>
              <a:grpSpLocks noChangeAspect="1"/>
            </p:cNvGrpSpPr>
            <p:nvPr/>
          </p:nvGrpSpPr>
          <p:grpSpPr bwMode="auto">
            <a:xfrm>
              <a:off x="779463" y="3457575"/>
              <a:ext cx="1525587" cy="1524000"/>
              <a:chOff x="491" y="2178"/>
              <a:chExt cx="961" cy="960"/>
            </a:xfrm>
          </p:grpSpPr>
          <p:sp>
            <p:nvSpPr>
              <p:cNvPr id="30" name="AutoShape 10"/>
              <p:cNvSpPr>
                <a:spLocks noChangeAspect="1" noChangeArrowheads="1" noTextEdit="1"/>
              </p:cNvSpPr>
              <p:nvPr/>
            </p:nvSpPr>
            <p:spPr bwMode="auto">
              <a:xfrm>
                <a:off x="491" y="2178"/>
                <a:ext cx="961" cy="9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 12"/>
              <p:cNvSpPr>
                <a:spLocks noEditPoints="1"/>
              </p:cNvSpPr>
              <p:nvPr/>
            </p:nvSpPr>
            <p:spPr bwMode="auto">
              <a:xfrm>
                <a:off x="492" y="2178"/>
                <a:ext cx="957" cy="957"/>
              </a:xfrm>
              <a:custGeom>
                <a:avLst/>
                <a:gdLst>
                  <a:gd name="T0" fmla="*/ 4999 w 13318"/>
                  <a:gd name="T1" fmla="*/ 211 h 13320"/>
                  <a:gd name="T2" fmla="*/ 3417 w 13318"/>
                  <a:gd name="T3" fmla="*/ 844 h 13320"/>
                  <a:gd name="T4" fmla="*/ 2164 w 13318"/>
                  <a:gd name="T5" fmla="*/ 1751 h 13320"/>
                  <a:gd name="T6" fmla="*/ 1368 w 13318"/>
                  <a:gd name="T7" fmla="*/ 2615 h 13320"/>
                  <a:gd name="T8" fmla="*/ 712 w 13318"/>
                  <a:gd name="T9" fmla="*/ 3664 h 13320"/>
                  <a:gd name="T10" fmla="*/ 308 w 13318"/>
                  <a:gd name="T11" fmla="*/ 4656 h 13320"/>
                  <a:gd name="T12" fmla="*/ 48 w 13318"/>
                  <a:gd name="T13" fmla="*/ 5848 h 13320"/>
                  <a:gd name="T14" fmla="*/ 14 w 13318"/>
                  <a:gd name="T15" fmla="*/ 7099 h 13320"/>
                  <a:gd name="T16" fmla="*/ 200 w 13318"/>
                  <a:gd name="T17" fmla="*/ 8292 h 13320"/>
                  <a:gd name="T18" fmla="*/ 951 w 13318"/>
                  <a:gd name="T19" fmla="*/ 10095 h 13320"/>
                  <a:gd name="T20" fmla="*/ 1898 w 13318"/>
                  <a:gd name="T21" fmla="*/ 11314 h 13320"/>
                  <a:gd name="T22" fmla="*/ 3064 w 13318"/>
                  <a:gd name="T23" fmla="*/ 12266 h 13320"/>
                  <a:gd name="T24" fmla="*/ 4610 w 13318"/>
                  <a:gd name="T25" fmla="*/ 12997 h 13320"/>
                  <a:gd name="T26" fmla="*/ 6280 w 13318"/>
                  <a:gd name="T27" fmla="*/ 13311 h 13320"/>
                  <a:gd name="T28" fmla="*/ 7887 w 13318"/>
                  <a:gd name="T29" fmla="*/ 13204 h 13320"/>
                  <a:gd name="T30" fmla="*/ 9157 w 13318"/>
                  <a:gd name="T31" fmla="*/ 12835 h 13320"/>
                  <a:gd name="T32" fmla="*/ 10170 w 13318"/>
                  <a:gd name="T33" fmla="*/ 12320 h 13320"/>
                  <a:gd name="T34" fmla="*/ 11775 w 13318"/>
                  <a:gd name="T35" fmla="*/ 10921 h 13320"/>
                  <a:gd name="T36" fmla="*/ 12189 w 13318"/>
                  <a:gd name="T37" fmla="*/ 10379 h 13320"/>
                  <a:gd name="T38" fmla="*/ 12742 w 13318"/>
                  <a:gd name="T39" fmla="*/ 9374 h 13320"/>
                  <a:gd name="T40" fmla="*/ 13206 w 13318"/>
                  <a:gd name="T41" fmla="*/ 7884 h 13320"/>
                  <a:gd name="T42" fmla="*/ 13302 w 13318"/>
                  <a:gd name="T43" fmla="*/ 6191 h 13320"/>
                  <a:gd name="T44" fmla="*/ 12996 w 13318"/>
                  <a:gd name="T45" fmla="*/ 4613 h 13320"/>
                  <a:gd name="T46" fmla="*/ 12331 w 13318"/>
                  <a:gd name="T47" fmla="*/ 3171 h 13320"/>
                  <a:gd name="T48" fmla="*/ 11506 w 13318"/>
                  <a:gd name="T49" fmla="*/ 2097 h 13320"/>
                  <a:gd name="T50" fmla="*/ 10229 w 13318"/>
                  <a:gd name="T51" fmla="*/ 1041 h 13320"/>
                  <a:gd name="T52" fmla="*/ 8737 w 13318"/>
                  <a:gd name="T53" fmla="*/ 333 h 13320"/>
                  <a:gd name="T54" fmla="*/ 7509 w 13318"/>
                  <a:gd name="T55" fmla="*/ 54 h 13320"/>
                  <a:gd name="T56" fmla="*/ 6259 w 13318"/>
                  <a:gd name="T57" fmla="*/ 12 h 13320"/>
                  <a:gd name="T58" fmla="*/ 5730 w 13318"/>
                  <a:gd name="T59" fmla="*/ 2677 h 13320"/>
                  <a:gd name="T60" fmla="*/ 5555 w 13318"/>
                  <a:gd name="T61" fmla="*/ 3041 h 13320"/>
                  <a:gd name="T62" fmla="*/ 5202 w 13318"/>
                  <a:gd name="T63" fmla="*/ 2918 h 13320"/>
                  <a:gd name="T64" fmla="*/ 4280 w 13318"/>
                  <a:gd name="T65" fmla="*/ 2915 h 13320"/>
                  <a:gd name="T66" fmla="*/ 3864 w 13318"/>
                  <a:gd name="T67" fmla="*/ 3154 h 13320"/>
                  <a:gd name="T68" fmla="*/ 3639 w 13318"/>
                  <a:gd name="T69" fmla="*/ 3594 h 13320"/>
                  <a:gd name="T70" fmla="*/ 3287 w 13318"/>
                  <a:gd name="T71" fmla="*/ 3295 h 13320"/>
                  <a:gd name="T72" fmla="*/ 3537 w 13318"/>
                  <a:gd name="T73" fmla="*/ 2884 h 13320"/>
                  <a:gd name="T74" fmla="*/ 3972 w 13318"/>
                  <a:gd name="T75" fmla="*/ 2593 h 13320"/>
                  <a:gd name="T76" fmla="*/ 4510 w 13318"/>
                  <a:gd name="T77" fmla="*/ 2450 h 13320"/>
                  <a:gd name="T78" fmla="*/ 5199 w 13318"/>
                  <a:gd name="T79" fmla="*/ 2493 h 13320"/>
                  <a:gd name="T80" fmla="*/ 8183 w 13318"/>
                  <a:gd name="T81" fmla="*/ 3151 h 13320"/>
                  <a:gd name="T82" fmla="*/ 7546 w 13318"/>
                  <a:gd name="T83" fmla="*/ 3539 h 13320"/>
                  <a:gd name="T84" fmla="*/ 6885 w 13318"/>
                  <a:gd name="T85" fmla="*/ 3618 h 13320"/>
                  <a:gd name="T86" fmla="*/ 6177 w 13318"/>
                  <a:gd name="T87" fmla="*/ 3427 h 13320"/>
                  <a:gd name="T88" fmla="*/ 6093 w 13318"/>
                  <a:gd name="T89" fmla="*/ 2928 h 13320"/>
                  <a:gd name="T90" fmla="*/ 6503 w 13318"/>
                  <a:gd name="T91" fmla="*/ 3109 h 13320"/>
                  <a:gd name="T92" fmla="*/ 7009 w 13318"/>
                  <a:gd name="T93" fmla="*/ 3199 h 13320"/>
                  <a:gd name="T94" fmla="*/ 7411 w 13318"/>
                  <a:gd name="T95" fmla="*/ 3147 h 13320"/>
                  <a:gd name="T96" fmla="*/ 7946 w 13318"/>
                  <a:gd name="T97" fmla="*/ 2819 h 13320"/>
                  <a:gd name="T98" fmla="*/ 8431 w 13318"/>
                  <a:gd name="T99" fmla="*/ 2824 h 13320"/>
                  <a:gd name="T100" fmla="*/ 3743 w 13318"/>
                  <a:gd name="T101" fmla="*/ 7031 h 13320"/>
                  <a:gd name="T102" fmla="*/ 5996 w 13318"/>
                  <a:gd name="T103" fmla="*/ 6732 h 13320"/>
                  <a:gd name="T104" fmla="*/ 6025 w 13318"/>
                  <a:gd name="T105" fmla="*/ 8191 h 13320"/>
                  <a:gd name="T106" fmla="*/ 8252 w 13318"/>
                  <a:gd name="T107" fmla="*/ 6768 h 13320"/>
                  <a:gd name="T108" fmla="*/ 9367 w 13318"/>
                  <a:gd name="T109" fmla="*/ 7454 h 13320"/>
                  <a:gd name="T110" fmla="*/ 3042 w 13318"/>
                  <a:gd name="T111" fmla="*/ 9747 h 13320"/>
                  <a:gd name="T112" fmla="*/ 3175 w 13318"/>
                  <a:gd name="T113" fmla="*/ 5786 h 13320"/>
                  <a:gd name="T114" fmla="*/ 3262 w 13318"/>
                  <a:gd name="T115" fmla="*/ 4034 h 13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318" h="13320">
                    <a:moveTo>
                      <a:pt x="6259" y="12"/>
                    </a:moveTo>
                    <a:lnTo>
                      <a:pt x="6117" y="22"/>
                    </a:lnTo>
                    <a:lnTo>
                      <a:pt x="5835" y="51"/>
                    </a:lnTo>
                    <a:lnTo>
                      <a:pt x="5555" y="92"/>
                    </a:lnTo>
                    <a:lnTo>
                      <a:pt x="5276" y="146"/>
                    </a:lnTo>
                    <a:lnTo>
                      <a:pt x="4999" y="211"/>
                    </a:lnTo>
                    <a:lnTo>
                      <a:pt x="4725" y="289"/>
                    </a:lnTo>
                    <a:lnTo>
                      <a:pt x="4454" y="378"/>
                    </a:lnTo>
                    <a:lnTo>
                      <a:pt x="4188" y="478"/>
                    </a:lnTo>
                    <a:lnTo>
                      <a:pt x="3926" y="589"/>
                    </a:lnTo>
                    <a:lnTo>
                      <a:pt x="3669" y="711"/>
                    </a:lnTo>
                    <a:lnTo>
                      <a:pt x="3417" y="844"/>
                    </a:lnTo>
                    <a:lnTo>
                      <a:pt x="3173" y="987"/>
                    </a:lnTo>
                    <a:lnTo>
                      <a:pt x="2934" y="1140"/>
                    </a:lnTo>
                    <a:lnTo>
                      <a:pt x="2704" y="1302"/>
                    </a:lnTo>
                    <a:lnTo>
                      <a:pt x="2481" y="1475"/>
                    </a:lnTo>
                    <a:lnTo>
                      <a:pt x="2267" y="1656"/>
                    </a:lnTo>
                    <a:lnTo>
                      <a:pt x="2164" y="1751"/>
                    </a:lnTo>
                    <a:lnTo>
                      <a:pt x="2083" y="1827"/>
                    </a:lnTo>
                    <a:lnTo>
                      <a:pt x="1926" y="1980"/>
                    </a:lnTo>
                    <a:lnTo>
                      <a:pt x="1777" y="2135"/>
                    </a:lnTo>
                    <a:lnTo>
                      <a:pt x="1634" y="2293"/>
                    </a:lnTo>
                    <a:lnTo>
                      <a:pt x="1498" y="2453"/>
                    </a:lnTo>
                    <a:lnTo>
                      <a:pt x="1368" y="2615"/>
                    </a:lnTo>
                    <a:lnTo>
                      <a:pt x="1244" y="2781"/>
                    </a:lnTo>
                    <a:lnTo>
                      <a:pt x="1127" y="2950"/>
                    </a:lnTo>
                    <a:lnTo>
                      <a:pt x="1015" y="3122"/>
                    </a:lnTo>
                    <a:lnTo>
                      <a:pt x="908" y="3299"/>
                    </a:lnTo>
                    <a:lnTo>
                      <a:pt x="807" y="3479"/>
                    </a:lnTo>
                    <a:lnTo>
                      <a:pt x="712" y="3664"/>
                    </a:lnTo>
                    <a:lnTo>
                      <a:pt x="621" y="3854"/>
                    </a:lnTo>
                    <a:lnTo>
                      <a:pt x="535" y="4049"/>
                    </a:lnTo>
                    <a:lnTo>
                      <a:pt x="454" y="4249"/>
                    </a:lnTo>
                    <a:lnTo>
                      <a:pt x="377" y="4455"/>
                    </a:lnTo>
                    <a:lnTo>
                      <a:pt x="340" y="4561"/>
                    </a:lnTo>
                    <a:lnTo>
                      <a:pt x="308" y="4656"/>
                    </a:lnTo>
                    <a:lnTo>
                      <a:pt x="249" y="4848"/>
                    </a:lnTo>
                    <a:lnTo>
                      <a:pt x="196" y="5043"/>
                    </a:lnTo>
                    <a:lnTo>
                      <a:pt x="150" y="5241"/>
                    </a:lnTo>
                    <a:lnTo>
                      <a:pt x="109" y="5441"/>
                    </a:lnTo>
                    <a:lnTo>
                      <a:pt x="75" y="5644"/>
                    </a:lnTo>
                    <a:lnTo>
                      <a:pt x="48" y="5848"/>
                    </a:lnTo>
                    <a:lnTo>
                      <a:pt x="26" y="6054"/>
                    </a:lnTo>
                    <a:lnTo>
                      <a:pt x="11" y="6261"/>
                    </a:lnTo>
                    <a:lnTo>
                      <a:pt x="2" y="6469"/>
                    </a:lnTo>
                    <a:lnTo>
                      <a:pt x="0" y="6679"/>
                    </a:lnTo>
                    <a:lnTo>
                      <a:pt x="4" y="6888"/>
                    </a:lnTo>
                    <a:lnTo>
                      <a:pt x="14" y="7099"/>
                    </a:lnTo>
                    <a:lnTo>
                      <a:pt x="31" y="7309"/>
                    </a:lnTo>
                    <a:lnTo>
                      <a:pt x="55" y="7519"/>
                    </a:lnTo>
                    <a:lnTo>
                      <a:pt x="84" y="7729"/>
                    </a:lnTo>
                    <a:lnTo>
                      <a:pt x="102" y="7834"/>
                    </a:lnTo>
                    <a:lnTo>
                      <a:pt x="130" y="7985"/>
                    </a:lnTo>
                    <a:lnTo>
                      <a:pt x="200" y="8292"/>
                    </a:lnTo>
                    <a:lnTo>
                      <a:pt x="289" y="8603"/>
                    </a:lnTo>
                    <a:lnTo>
                      <a:pt x="393" y="8914"/>
                    </a:lnTo>
                    <a:lnTo>
                      <a:pt x="513" y="9222"/>
                    </a:lnTo>
                    <a:lnTo>
                      <a:pt x="647" y="9524"/>
                    </a:lnTo>
                    <a:lnTo>
                      <a:pt x="793" y="9816"/>
                    </a:lnTo>
                    <a:lnTo>
                      <a:pt x="951" y="10095"/>
                    </a:lnTo>
                    <a:lnTo>
                      <a:pt x="1034" y="10227"/>
                    </a:lnTo>
                    <a:lnTo>
                      <a:pt x="1117" y="10355"/>
                    </a:lnTo>
                    <a:lnTo>
                      <a:pt x="1294" y="10606"/>
                    </a:lnTo>
                    <a:lnTo>
                      <a:pt x="1484" y="10850"/>
                    </a:lnTo>
                    <a:lnTo>
                      <a:pt x="1686" y="11086"/>
                    </a:lnTo>
                    <a:lnTo>
                      <a:pt x="1898" y="11314"/>
                    </a:lnTo>
                    <a:lnTo>
                      <a:pt x="2120" y="11531"/>
                    </a:lnTo>
                    <a:lnTo>
                      <a:pt x="2350" y="11737"/>
                    </a:lnTo>
                    <a:lnTo>
                      <a:pt x="2587" y="11930"/>
                    </a:lnTo>
                    <a:lnTo>
                      <a:pt x="2709" y="12021"/>
                    </a:lnTo>
                    <a:lnTo>
                      <a:pt x="2825" y="12105"/>
                    </a:lnTo>
                    <a:lnTo>
                      <a:pt x="3064" y="12266"/>
                    </a:lnTo>
                    <a:lnTo>
                      <a:pt x="3309" y="12416"/>
                    </a:lnTo>
                    <a:lnTo>
                      <a:pt x="3560" y="12554"/>
                    </a:lnTo>
                    <a:lnTo>
                      <a:pt x="3816" y="12682"/>
                    </a:lnTo>
                    <a:lnTo>
                      <a:pt x="4076" y="12799"/>
                    </a:lnTo>
                    <a:lnTo>
                      <a:pt x="4341" y="12904"/>
                    </a:lnTo>
                    <a:lnTo>
                      <a:pt x="4610" y="12997"/>
                    </a:lnTo>
                    <a:lnTo>
                      <a:pt x="4882" y="13079"/>
                    </a:lnTo>
                    <a:lnTo>
                      <a:pt x="5157" y="13150"/>
                    </a:lnTo>
                    <a:lnTo>
                      <a:pt x="5435" y="13208"/>
                    </a:lnTo>
                    <a:lnTo>
                      <a:pt x="5715" y="13255"/>
                    </a:lnTo>
                    <a:lnTo>
                      <a:pt x="5997" y="13289"/>
                    </a:lnTo>
                    <a:lnTo>
                      <a:pt x="6280" y="13311"/>
                    </a:lnTo>
                    <a:lnTo>
                      <a:pt x="6564" y="13320"/>
                    </a:lnTo>
                    <a:lnTo>
                      <a:pt x="6848" y="13317"/>
                    </a:lnTo>
                    <a:lnTo>
                      <a:pt x="6990" y="13311"/>
                    </a:lnTo>
                    <a:lnTo>
                      <a:pt x="7173" y="13299"/>
                    </a:lnTo>
                    <a:lnTo>
                      <a:pt x="7533" y="13261"/>
                    </a:lnTo>
                    <a:lnTo>
                      <a:pt x="7887" y="13204"/>
                    </a:lnTo>
                    <a:lnTo>
                      <a:pt x="8235" y="13130"/>
                    </a:lnTo>
                    <a:lnTo>
                      <a:pt x="8492" y="13062"/>
                    </a:lnTo>
                    <a:lnTo>
                      <a:pt x="8661" y="13012"/>
                    </a:lnTo>
                    <a:lnTo>
                      <a:pt x="8828" y="12957"/>
                    </a:lnTo>
                    <a:lnTo>
                      <a:pt x="8994" y="12898"/>
                    </a:lnTo>
                    <a:lnTo>
                      <a:pt x="9157" y="12835"/>
                    </a:lnTo>
                    <a:lnTo>
                      <a:pt x="9319" y="12767"/>
                    </a:lnTo>
                    <a:lnTo>
                      <a:pt x="9478" y="12695"/>
                    </a:lnTo>
                    <a:lnTo>
                      <a:pt x="9636" y="12619"/>
                    </a:lnTo>
                    <a:lnTo>
                      <a:pt x="9791" y="12539"/>
                    </a:lnTo>
                    <a:lnTo>
                      <a:pt x="9944" y="12454"/>
                    </a:lnTo>
                    <a:lnTo>
                      <a:pt x="10170" y="12320"/>
                    </a:lnTo>
                    <a:lnTo>
                      <a:pt x="10463" y="12127"/>
                    </a:lnTo>
                    <a:lnTo>
                      <a:pt x="10746" y="11917"/>
                    </a:lnTo>
                    <a:lnTo>
                      <a:pt x="11019" y="11692"/>
                    </a:lnTo>
                    <a:lnTo>
                      <a:pt x="11282" y="11450"/>
                    </a:lnTo>
                    <a:lnTo>
                      <a:pt x="11534" y="11193"/>
                    </a:lnTo>
                    <a:lnTo>
                      <a:pt x="11775" y="10921"/>
                    </a:lnTo>
                    <a:lnTo>
                      <a:pt x="11890" y="10779"/>
                    </a:lnTo>
                    <a:lnTo>
                      <a:pt x="12010" y="10624"/>
                    </a:lnTo>
                    <a:lnTo>
                      <a:pt x="12095" y="10506"/>
                    </a:lnTo>
                    <a:lnTo>
                      <a:pt x="12151" y="10424"/>
                    </a:lnTo>
                    <a:lnTo>
                      <a:pt x="12175" y="10394"/>
                    </a:lnTo>
                    <a:lnTo>
                      <a:pt x="12189" y="10379"/>
                    </a:lnTo>
                    <a:lnTo>
                      <a:pt x="12253" y="10280"/>
                    </a:lnTo>
                    <a:lnTo>
                      <a:pt x="12393" y="10045"/>
                    </a:lnTo>
                    <a:lnTo>
                      <a:pt x="12487" y="9877"/>
                    </a:lnTo>
                    <a:lnTo>
                      <a:pt x="12549" y="9764"/>
                    </a:lnTo>
                    <a:lnTo>
                      <a:pt x="12653" y="9562"/>
                    </a:lnTo>
                    <a:lnTo>
                      <a:pt x="12742" y="9374"/>
                    </a:lnTo>
                    <a:lnTo>
                      <a:pt x="12825" y="9178"/>
                    </a:lnTo>
                    <a:lnTo>
                      <a:pt x="12867" y="9071"/>
                    </a:lnTo>
                    <a:lnTo>
                      <a:pt x="12930" y="8903"/>
                    </a:lnTo>
                    <a:lnTo>
                      <a:pt x="13040" y="8566"/>
                    </a:lnTo>
                    <a:lnTo>
                      <a:pt x="13132" y="8226"/>
                    </a:lnTo>
                    <a:lnTo>
                      <a:pt x="13206" y="7884"/>
                    </a:lnTo>
                    <a:lnTo>
                      <a:pt x="13262" y="7540"/>
                    </a:lnTo>
                    <a:lnTo>
                      <a:pt x="13299" y="7195"/>
                    </a:lnTo>
                    <a:lnTo>
                      <a:pt x="13318" y="6848"/>
                    </a:lnTo>
                    <a:lnTo>
                      <a:pt x="13318" y="6501"/>
                    </a:lnTo>
                    <a:lnTo>
                      <a:pt x="13310" y="6327"/>
                    </a:lnTo>
                    <a:lnTo>
                      <a:pt x="13302" y="6191"/>
                    </a:lnTo>
                    <a:lnTo>
                      <a:pt x="13277" y="5921"/>
                    </a:lnTo>
                    <a:lnTo>
                      <a:pt x="13241" y="5653"/>
                    </a:lnTo>
                    <a:lnTo>
                      <a:pt x="13195" y="5388"/>
                    </a:lnTo>
                    <a:lnTo>
                      <a:pt x="13139" y="5127"/>
                    </a:lnTo>
                    <a:lnTo>
                      <a:pt x="13073" y="4868"/>
                    </a:lnTo>
                    <a:lnTo>
                      <a:pt x="12996" y="4613"/>
                    </a:lnTo>
                    <a:lnTo>
                      <a:pt x="12910" y="4362"/>
                    </a:lnTo>
                    <a:lnTo>
                      <a:pt x="12814" y="4115"/>
                    </a:lnTo>
                    <a:lnTo>
                      <a:pt x="12707" y="3872"/>
                    </a:lnTo>
                    <a:lnTo>
                      <a:pt x="12592" y="3634"/>
                    </a:lnTo>
                    <a:lnTo>
                      <a:pt x="12466" y="3400"/>
                    </a:lnTo>
                    <a:lnTo>
                      <a:pt x="12331" y="3171"/>
                    </a:lnTo>
                    <a:lnTo>
                      <a:pt x="12186" y="2947"/>
                    </a:lnTo>
                    <a:lnTo>
                      <a:pt x="12032" y="2728"/>
                    </a:lnTo>
                    <a:lnTo>
                      <a:pt x="11869" y="2515"/>
                    </a:lnTo>
                    <a:lnTo>
                      <a:pt x="11784" y="2411"/>
                    </a:lnTo>
                    <a:lnTo>
                      <a:pt x="11693" y="2304"/>
                    </a:lnTo>
                    <a:lnTo>
                      <a:pt x="11506" y="2097"/>
                    </a:lnTo>
                    <a:lnTo>
                      <a:pt x="11311" y="1898"/>
                    </a:lnTo>
                    <a:lnTo>
                      <a:pt x="11109" y="1709"/>
                    </a:lnTo>
                    <a:lnTo>
                      <a:pt x="10899" y="1528"/>
                    </a:lnTo>
                    <a:lnTo>
                      <a:pt x="10682" y="1356"/>
                    </a:lnTo>
                    <a:lnTo>
                      <a:pt x="10459" y="1194"/>
                    </a:lnTo>
                    <a:lnTo>
                      <a:pt x="10229" y="1041"/>
                    </a:lnTo>
                    <a:lnTo>
                      <a:pt x="9994" y="898"/>
                    </a:lnTo>
                    <a:lnTo>
                      <a:pt x="9753" y="765"/>
                    </a:lnTo>
                    <a:lnTo>
                      <a:pt x="9506" y="641"/>
                    </a:lnTo>
                    <a:lnTo>
                      <a:pt x="9254" y="528"/>
                    </a:lnTo>
                    <a:lnTo>
                      <a:pt x="8998" y="425"/>
                    </a:lnTo>
                    <a:lnTo>
                      <a:pt x="8737" y="333"/>
                    </a:lnTo>
                    <a:lnTo>
                      <a:pt x="8472" y="252"/>
                    </a:lnTo>
                    <a:lnTo>
                      <a:pt x="8203" y="181"/>
                    </a:lnTo>
                    <a:lnTo>
                      <a:pt x="8067" y="151"/>
                    </a:lnTo>
                    <a:lnTo>
                      <a:pt x="7955" y="127"/>
                    </a:lnTo>
                    <a:lnTo>
                      <a:pt x="7732" y="87"/>
                    </a:lnTo>
                    <a:lnTo>
                      <a:pt x="7509" y="54"/>
                    </a:lnTo>
                    <a:lnTo>
                      <a:pt x="7285" y="29"/>
                    </a:lnTo>
                    <a:lnTo>
                      <a:pt x="7060" y="12"/>
                    </a:lnTo>
                    <a:lnTo>
                      <a:pt x="6833" y="2"/>
                    </a:lnTo>
                    <a:lnTo>
                      <a:pt x="6605" y="0"/>
                    </a:lnTo>
                    <a:lnTo>
                      <a:pt x="6375" y="6"/>
                    </a:lnTo>
                    <a:lnTo>
                      <a:pt x="6259" y="12"/>
                    </a:lnTo>
                    <a:close/>
                    <a:moveTo>
                      <a:pt x="5260" y="2509"/>
                    </a:moveTo>
                    <a:lnTo>
                      <a:pt x="5329" y="2527"/>
                    </a:lnTo>
                    <a:lnTo>
                      <a:pt x="5477" y="2574"/>
                    </a:lnTo>
                    <a:lnTo>
                      <a:pt x="5614" y="2623"/>
                    </a:lnTo>
                    <a:lnTo>
                      <a:pt x="5710" y="2664"/>
                    </a:lnTo>
                    <a:lnTo>
                      <a:pt x="5730" y="2677"/>
                    </a:lnTo>
                    <a:lnTo>
                      <a:pt x="5732" y="2683"/>
                    </a:lnTo>
                    <a:lnTo>
                      <a:pt x="5723" y="2716"/>
                    </a:lnTo>
                    <a:lnTo>
                      <a:pt x="5689" y="2799"/>
                    </a:lnTo>
                    <a:lnTo>
                      <a:pt x="5622" y="2933"/>
                    </a:lnTo>
                    <a:lnTo>
                      <a:pt x="5576" y="3012"/>
                    </a:lnTo>
                    <a:lnTo>
                      <a:pt x="5555" y="3041"/>
                    </a:lnTo>
                    <a:lnTo>
                      <a:pt x="5549" y="3044"/>
                    </a:lnTo>
                    <a:lnTo>
                      <a:pt x="5535" y="3041"/>
                    </a:lnTo>
                    <a:lnTo>
                      <a:pt x="5463" y="3013"/>
                    </a:lnTo>
                    <a:lnTo>
                      <a:pt x="5417" y="2992"/>
                    </a:lnTo>
                    <a:lnTo>
                      <a:pt x="5350" y="2964"/>
                    </a:lnTo>
                    <a:lnTo>
                      <a:pt x="5202" y="2918"/>
                    </a:lnTo>
                    <a:lnTo>
                      <a:pt x="5041" y="2885"/>
                    </a:lnTo>
                    <a:lnTo>
                      <a:pt x="4874" y="2866"/>
                    </a:lnTo>
                    <a:lnTo>
                      <a:pt x="4706" y="2860"/>
                    </a:lnTo>
                    <a:lnTo>
                      <a:pt x="4541" y="2868"/>
                    </a:lnTo>
                    <a:lnTo>
                      <a:pt x="4386" y="2889"/>
                    </a:lnTo>
                    <a:lnTo>
                      <a:pt x="4280" y="2915"/>
                    </a:lnTo>
                    <a:lnTo>
                      <a:pt x="4214" y="2937"/>
                    </a:lnTo>
                    <a:lnTo>
                      <a:pt x="4184" y="2949"/>
                    </a:lnTo>
                    <a:lnTo>
                      <a:pt x="4130" y="2972"/>
                    </a:lnTo>
                    <a:lnTo>
                      <a:pt x="4032" y="3025"/>
                    </a:lnTo>
                    <a:lnTo>
                      <a:pt x="3943" y="3086"/>
                    </a:lnTo>
                    <a:lnTo>
                      <a:pt x="3864" y="3154"/>
                    </a:lnTo>
                    <a:lnTo>
                      <a:pt x="3796" y="3230"/>
                    </a:lnTo>
                    <a:lnTo>
                      <a:pt x="3739" y="3311"/>
                    </a:lnTo>
                    <a:lnTo>
                      <a:pt x="3694" y="3399"/>
                    </a:lnTo>
                    <a:lnTo>
                      <a:pt x="3661" y="3491"/>
                    </a:lnTo>
                    <a:lnTo>
                      <a:pt x="3650" y="3539"/>
                    </a:lnTo>
                    <a:lnTo>
                      <a:pt x="3639" y="3594"/>
                    </a:lnTo>
                    <a:lnTo>
                      <a:pt x="3432" y="3594"/>
                    </a:lnTo>
                    <a:lnTo>
                      <a:pt x="3224" y="3594"/>
                    </a:lnTo>
                    <a:lnTo>
                      <a:pt x="3234" y="3514"/>
                    </a:lnTo>
                    <a:lnTo>
                      <a:pt x="3241" y="3469"/>
                    </a:lnTo>
                    <a:lnTo>
                      <a:pt x="3260" y="3381"/>
                    </a:lnTo>
                    <a:lnTo>
                      <a:pt x="3287" y="3295"/>
                    </a:lnTo>
                    <a:lnTo>
                      <a:pt x="3319" y="3211"/>
                    </a:lnTo>
                    <a:lnTo>
                      <a:pt x="3358" y="3130"/>
                    </a:lnTo>
                    <a:lnTo>
                      <a:pt x="3403" y="3054"/>
                    </a:lnTo>
                    <a:lnTo>
                      <a:pt x="3453" y="2982"/>
                    </a:lnTo>
                    <a:lnTo>
                      <a:pt x="3508" y="2915"/>
                    </a:lnTo>
                    <a:lnTo>
                      <a:pt x="3537" y="2884"/>
                    </a:lnTo>
                    <a:lnTo>
                      <a:pt x="3570" y="2852"/>
                    </a:lnTo>
                    <a:lnTo>
                      <a:pt x="3640" y="2791"/>
                    </a:lnTo>
                    <a:lnTo>
                      <a:pt x="3715" y="2735"/>
                    </a:lnTo>
                    <a:lnTo>
                      <a:pt x="3795" y="2683"/>
                    </a:lnTo>
                    <a:lnTo>
                      <a:pt x="3881" y="2636"/>
                    </a:lnTo>
                    <a:lnTo>
                      <a:pt x="3972" y="2593"/>
                    </a:lnTo>
                    <a:lnTo>
                      <a:pt x="4069" y="2555"/>
                    </a:lnTo>
                    <a:lnTo>
                      <a:pt x="4171" y="2521"/>
                    </a:lnTo>
                    <a:lnTo>
                      <a:pt x="4225" y="2506"/>
                    </a:lnTo>
                    <a:lnTo>
                      <a:pt x="4299" y="2485"/>
                    </a:lnTo>
                    <a:lnTo>
                      <a:pt x="4407" y="2460"/>
                    </a:lnTo>
                    <a:lnTo>
                      <a:pt x="4510" y="2450"/>
                    </a:lnTo>
                    <a:lnTo>
                      <a:pt x="4661" y="2450"/>
                    </a:lnTo>
                    <a:lnTo>
                      <a:pt x="4775" y="2452"/>
                    </a:lnTo>
                    <a:lnTo>
                      <a:pt x="4866" y="2454"/>
                    </a:lnTo>
                    <a:lnTo>
                      <a:pt x="4999" y="2460"/>
                    </a:lnTo>
                    <a:lnTo>
                      <a:pt x="5099" y="2472"/>
                    </a:lnTo>
                    <a:lnTo>
                      <a:pt x="5199" y="2493"/>
                    </a:lnTo>
                    <a:lnTo>
                      <a:pt x="5260" y="2509"/>
                    </a:lnTo>
                    <a:close/>
                    <a:moveTo>
                      <a:pt x="8459" y="2854"/>
                    </a:moveTo>
                    <a:lnTo>
                      <a:pt x="8456" y="2863"/>
                    </a:lnTo>
                    <a:lnTo>
                      <a:pt x="8425" y="2903"/>
                    </a:lnTo>
                    <a:lnTo>
                      <a:pt x="8340" y="2996"/>
                    </a:lnTo>
                    <a:lnTo>
                      <a:pt x="8183" y="3151"/>
                    </a:lnTo>
                    <a:lnTo>
                      <a:pt x="8033" y="3285"/>
                    </a:lnTo>
                    <a:lnTo>
                      <a:pt x="7984" y="3322"/>
                    </a:lnTo>
                    <a:lnTo>
                      <a:pt x="7924" y="3361"/>
                    </a:lnTo>
                    <a:lnTo>
                      <a:pt x="7801" y="3431"/>
                    </a:lnTo>
                    <a:lnTo>
                      <a:pt x="7675" y="3491"/>
                    </a:lnTo>
                    <a:lnTo>
                      <a:pt x="7546" y="3539"/>
                    </a:lnTo>
                    <a:lnTo>
                      <a:pt x="7416" y="3577"/>
                    </a:lnTo>
                    <a:lnTo>
                      <a:pt x="7284" y="3604"/>
                    </a:lnTo>
                    <a:lnTo>
                      <a:pt x="7151" y="3620"/>
                    </a:lnTo>
                    <a:lnTo>
                      <a:pt x="7017" y="3625"/>
                    </a:lnTo>
                    <a:lnTo>
                      <a:pt x="6950" y="3622"/>
                    </a:lnTo>
                    <a:lnTo>
                      <a:pt x="6885" y="3618"/>
                    </a:lnTo>
                    <a:lnTo>
                      <a:pt x="6758" y="3605"/>
                    </a:lnTo>
                    <a:lnTo>
                      <a:pt x="6636" y="3585"/>
                    </a:lnTo>
                    <a:lnTo>
                      <a:pt x="6518" y="3557"/>
                    </a:lnTo>
                    <a:lnTo>
                      <a:pt x="6403" y="3522"/>
                    </a:lnTo>
                    <a:lnTo>
                      <a:pt x="6290" y="3478"/>
                    </a:lnTo>
                    <a:lnTo>
                      <a:pt x="6177" y="3427"/>
                    </a:lnTo>
                    <a:lnTo>
                      <a:pt x="6064" y="3366"/>
                    </a:lnTo>
                    <a:lnTo>
                      <a:pt x="6007" y="3332"/>
                    </a:lnTo>
                    <a:lnTo>
                      <a:pt x="5880" y="3256"/>
                    </a:lnTo>
                    <a:lnTo>
                      <a:pt x="5987" y="3087"/>
                    </a:lnTo>
                    <a:lnTo>
                      <a:pt x="6029" y="3020"/>
                    </a:lnTo>
                    <a:lnTo>
                      <a:pt x="6093" y="2928"/>
                    </a:lnTo>
                    <a:lnTo>
                      <a:pt x="6104" y="2919"/>
                    </a:lnTo>
                    <a:lnTo>
                      <a:pt x="6117" y="2923"/>
                    </a:lnTo>
                    <a:lnTo>
                      <a:pt x="6201" y="2966"/>
                    </a:lnTo>
                    <a:lnTo>
                      <a:pt x="6259" y="2997"/>
                    </a:lnTo>
                    <a:lnTo>
                      <a:pt x="6326" y="3032"/>
                    </a:lnTo>
                    <a:lnTo>
                      <a:pt x="6503" y="3109"/>
                    </a:lnTo>
                    <a:lnTo>
                      <a:pt x="6584" y="3137"/>
                    </a:lnTo>
                    <a:lnTo>
                      <a:pt x="6646" y="3159"/>
                    </a:lnTo>
                    <a:lnTo>
                      <a:pt x="6735" y="3185"/>
                    </a:lnTo>
                    <a:lnTo>
                      <a:pt x="6816" y="3197"/>
                    </a:lnTo>
                    <a:lnTo>
                      <a:pt x="6927" y="3200"/>
                    </a:lnTo>
                    <a:lnTo>
                      <a:pt x="7009" y="3199"/>
                    </a:lnTo>
                    <a:lnTo>
                      <a:pt x="7078" y="3199"/>
                    </a:lnTo>
                    <a:lnTo>
                      <a:pt x="7183" y="3196"/>
                    </a:lnTo>
                    <a:lnTo>
                      <a:pt x="7262" y="3188"/>
                    </a:lnTo>
                    <a:lnTo>
                      <a:pt x="7327" y="3174"/>
                    </a:lnTo>
                    <a:lnTo>
                      <a:pt x="7359" y="3164"/>
                    </a:lnTo>
                    <a:lnTo>
                      <a:pt x="7411" y="3147"/>
                    </a:lnTo>
                    <a:lnTo>
                      <a:pt x="7511" y="3109"/>
                    </a:lnTo>
                    <a:lnTo>
                      <a:pt x="7606" y="3064"/>
                    </a:lnTo>
                    <a:lnTo>
                      <a:pt x="7697" y="3012"/>
                    </a:lnTo>
                    <a:lnTo>
                      <a:pt x="7784" y="2955"/>
                    </a:lnTo>
                    <a:lnTo>
                      <a:pt x="7867" y="2890"/>
                    </a:lnTo>
                    <a:lnTo>
                      <a:pt x="7946" y="2819"/>
                    </a:lnTo>
                    <a:lnTo>
                      <a:pt x="8021" y="2741"/>
                    </a:lnTo>
                    <a:lnTo>
                      <a:pt x="8057" y="2699"/>
                    </a:lnTo>
                    <a:lnTo>
                      <a:pt x="8129" y="2612"/>
                    </a:lnTo>
                    <a:lnTo>
                      <a:pt x="8294" y="2722"/>
                    </a:lnTo>
                    <a:lnTo>
                      <a:pt x="8359" y="2767"/>
                    </a:lnTo>
                    <a:lnTo>
                      <a:pt x="8431" y="2824"/>
                    </a:lnTo>
                    <a:lnTo>
                      <a:pt x="8456" y="2848"/>
                    </a:lnTo>
                    <a:lnTo>
                      <a:pt x="8459" y="2854"/>
                    </a:lnTo>
                    <a:close/>
                    <a:moveTo>
                      <a:pt x="3649" y="4264"/>
                    </a:moveTo>
                    <a:lnTo>
                      <a:pt x="3665" y="4699"/>
                    </a:lnTo>
                    <a:lnTo>
                      <a:pt x="3719" y="6286"/>
                    </a:lnTo>
                    <a:lnTo>
                      <a:pt x="3743" y="7031"/>
                    </a:lnTo>
                    <a:lnTo>
                      <a:pt x="3764" y="7639"/>
                    </a:lnTo>
                    <a:lnTo>
                      <a:pt x="3784" y="8194"/>
                    </a:lnTo>
                    <a:lnTo>
                      <a:pt x="4897" y="7454"/>
                    </a:lnTo>
                    <a:lnTo>
                      <a:pt x="5342" y="7158"/>
                    </a:lnTo>
                    <a:lnTo>
                      <a:pt x="5825" y="6841"/>
                    </a:lnTo>
                    <a:lnTo>
                      <a:pt x="5996" y="6732"/>
                    </a:lnTo>
                    <a:lnTo>
                      <a:pt x="6012" y="6724"/>
                    </a:lnTo>
                    <a:lnTo>
                      <a:pt x="6014" y="6736"/>
                    </a:lnTo>
                    <a:lnTo>
                      <a:pt x="6017" y="6752"/>
                    </a:lnTo>
                    <a:lnTo>
                      <a:pt x="6021" y="6925"/>
                    </a:lnTo>
                    <a:lnTo>
                      <a:pt x="6024" y="7479"/>
                    </a:lnTo>
                    <a:lnTo>
                      <a:pt x="6025" y="8191"/>
                    </a:lnTo>
                    <a:lnTo>
                      <a:pt x="7134" y="7452"/>
                    </a:lnTo>
                    <a:lnTo>
                      <a:pt x="7577" y="7158"/>
                    </a:lnTo>
                    <a:lnTo>
                      <a:pt x="8060" y="6842"/>
                    </a:lnTo>
                    <a:lnTo>
                      <a:pt x="8231" y="6733"/>
                    </a:lnTo>
                    <a:lnTo>
                      <a:pt x="8249" y="6724"/>
                    </a:lnTo>
                    <a:lnTo>
                      <a:pt x="8252" y="6768"/>
                    </a:lnTo>
                    <a:lnTo>
                      <a:pt x="8258" y="7163"/>
                    </a:lnTo>
                    <a:lnTo>
                      <a:pt x="8259" y="7451"/>
                    </a:lnTo>
                    <a:lnTo>
                      <a:pt x="8259" y="8181"/>
                    </a:lnTo>
                    <a:lnTo>
                      <a:pt x="8321" y="8144"/>
                    </a:lnTo>
                    <a:lnTo>
                      <a:pt x="8923" y="7748"/>
                    </a:lnTo>
                    <a:lnTo>
                      <a:pt x="9367" y="7454"/>
                    </a:lnTo>
                    <a:lnTo>
                      <a:pt x="10475" y="6716"/>
                    </a:lnTo>
                    <a:lnTo>
                      <a:pt x="10475" y="8262"/>
                    </a:lnTo>
                    <a:lnTo>
                      <a:pt x="10475" y="9811"/>
                    </a:lnTo>
                    <a:lnTo>
                      <a:pt x="6759" y="9811"/>
                    </a:lnTo>
                    <a:lnTo>
                      <a:pt x="3042" y="9811"/>
                    </a:lnTo>
                    <a:lnTo>
                      <a:pt x="3042" y="9747"/>
                    </a:lnTo>
                    <a:lnTo>
                      <a:pt x="3045" y="9602"/>
                    </a:lnTo>
                    <a:lnTo>
                      <a:pt x="3059" y="9259"/>
                    </a:lnTo>
                    <a:lnTo>
                      <a:pt x="3074" y="8806"/>
                    </a:lnTo>
                    <a:lnTo>
                      <a:pt x="3092" y="8286"/>
                    </a:lnTo>
                    <a:lnTo>
                      <a:pt x="3132" y="7060"/>
                    </a:lnTo>
                    <a:lnTo>
                      <a:pt x="3175" y="5786"/>
                    </a:lnTo>
                    <a:lnTo>
                      <a:pt x="3191" y="5283"/>
                    </a:lnTo>
                    <a:lnTo>
                      <a:pt x="3210" y="4694"/>
                    </a:lnTo>
                    <a:lnTo>
                      <a:pt x="3226" y="4205"/>
                    </a:lnTo>
                    <a:lnTo>
                      <a:pt x="3235" y="4047"/>
                    </a:lnTo>
                    <a:lnTo>
                      <a:pt x="3238" y="4042"/>
                    </a:lnTo>
                    <a:lnTo>
                      <a:pt x="3262" y="4034"/>
                    </a:lnTo>
                    <a:lnTo>
                      <a:pt x="3343" y="4028"/>
                    </a:lnTo>
                    <a:lnTo>
                      <a:pt x="3440" y="4027"/>
                    </a:lnTo>
                    <a:lnTo>
                      <a:pt x="3639" y="4027"/>
                    </a:lnTo>
                    <a:lnTo>
                      <a:pt x="3649" y="4264"/>
                    </a:lnTo>
                    <a:close/>
                  </a:path>
                </a:pathLst>
              </a:custGeom>
              <a:solidFill>
                <a:srgbClr val="A609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Freeform 13"/>
              <p:cNvSpPr>
                <a:spLocks/>
              </p:cNvSpPr>
              <p:nvPr/>
            </p:nvSpPr>
            <p:spPr bwMode="auto">
              <a:xfrm>
                <a:off x="788" y="2804"/>
                <a:ext cx="107" cy="50"/>
              </a:xfrm>
              <a:custGeom>
                <a:avLst/>
                <a:gdLst>
                  <a:gd name="T0" fmla="*/ 0 w 1484"/>
                  <a:gd name="T1" fmla="*/ 350 h 700"/>
                  <a:gd name="T2" fmla="*/ 0 w 1484"/>
                  <a:gd name="T3" fmla="*/ 700 h 700"/>
                  <a:gd name="T4" fmla="*/ 742 w 1484"/>
                  <a:gd name="T5" fmla="*/ 700 h 700"/>
                  <a:gd name="T6" fmla="*/ 1484 w 1484"/>
                  <a:gd name="T7" fmla="*/ 700 h 700"/>
                  <a:gd name="T8" fmla="*/ 1484 w 1484"/>
                  <a:gd name="T9" fmla="*/ 350 h 700"/>
                  <a:gd name="T10" fmla="*/ 1484 w 1484"/>
                  <a:gd name="T11" fmla="*/ 0 h 700"/>
                  <a:gd name="T12" fmla="*/ 742 w 1484"/>
                  <a:gd name="T13" fmla="*/ 0 h 700"/>
                  <a:gd name="T14" fmla="*/ 0 w 1484"/>
                  <a:gd name="T15" fmla="*/ 0 h 700"/>
                  <a:gd name="T16" fmla="*/ 0 w 1484"/>
                  <a:gd name="T17" fmla="*/ 350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84" h="700">
                    <a:moveTo>
                      <a:pt x="0" y="350"/>
                    </a:moveTo>
                    <a:lnTo>
                      <a:pt x="0" y="700"/>
                    </a:lnTo>
                    <a:lnTo>
                      <a:pt x="742" y="700"/>
                    </a:lnTo>
                    <a:lnTo>
                      <a:pt x="1484" y="700"/>
                    </a:lnTo>
                    <a:lnTo>
                      <a:pt x="1484" y="350"/>
                    </a:lnTo>
                    <a:lnTo>
                      <a:pt x="1484" y="0"/>
                    </a:lnTo>
                    <a:lnTo>
                      <a:pt x="742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14"/>
              <p:cNvSpPr>
                <a:spLocks/>
              </p:cNvSpPr>
              <p:nvPr/>
            </p:nvSpPr>
            <p:spPr bwMode="auto">
              <a:xfrm>
                <a:off x="949" y="2804"/>
                <a:ext cx="106" cy="50"/>
              </a:xfrm>
              <a:custGeom>
                <a:avLst/>
                <a:gdLst>
                  <a:gd name="T0" fmla="*/ 3 w 1483"/>
                  <a:gd name="T1" fmla="*/ 345 h 700"/>
                  <a:gd name="T2" fmla="*/ 8 w 1483"/>
                  <a:gd name="T3" fmla="*/ 691 h 700"/>
                  <a:gd name="T4" fmla="*/ 746 w 1483"/>
                  <a:gd name="T5" fmla="*/ 696 h 700"/>
                  <a:gd name="T6" fmla="*/ 1483 w 1483"/>
                  <a:gd name="T7" fmla="*/ 700 h 700"/>
                  <a:gd name="T8" fmla="*/ 1483 w 1483"/>
                  <a:gd name="T9" fmla="*/ 350 h 700"/>
                  <a:gd name="T10" fmla="*/ 1483 w 1483"/>
                  <a:gd name="T11" fmla="*/ 0 h 700"/>
                  <a:gd name="T12" fmla="*/ 741 w 1483"/>
                  <a:gd name="T13" fmla="*/ 0 h 700"/>
                  <a:gd name="T14" fmla="*/ 0 w 1483"/>
                  <a:gd name="T15" fmla="*/ 0 h 700"/>
                  <a:gd name="T16" fmla="*/ 3 w 1483"/>
                  <a:gd name="T17" fmla="*/ 345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83" h="700">
                    <a:moveTo>
                      <a:pt x="3" y="345"/>
                    </a:moveTo>
                    <a:lnTo>
                      <a:pt x="8" y="691"/>
                    </a:lnTo>
                    <a:lnTo>
                      <a:pt x="746" y="696"/>
                    </a:lnTo>
                    <a:lnTo>
                      <a:pt x="1483" y="700"/>
                    </a:lnTo>
                    <a:lnTo>
                      <a:pt x="1483" y="350"/>
                    </a:lnTo>
                    <a:lnTo>
                      <a:pt x="1483" y="0"/>
                    </a:lnTo>
                    <a:lnTo>
                      <a:pt x="741" y="0"/>
                    </a:lnTo>
                    <a:lnTo>
                      <a:pt x="0" y="0"/>
                    </a:lnTo>
                    <a:lnTo>
                      <a:pt x="3" y="34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15"/>
              <p:cNvSpPr>
                <a:spLocks/>
              </p:cNvSpPr>
              <p:nvPr/>
            </p:nvSpPr>
            <p:spPr bwMode="auto">
              <a:xfrm>
                <a:off x="1110" y="2804"/>
                <a:ext cx="106" cy="50"/>
              </a:xfrm>
              <a:custGeom>
                <a:avLst/>
                <a:gdLst>
                  <a:gd name="T0" fmla="*/ 0 w 1466"/>
                  <a:gd name="T1" fmla="*/ 350 h 700"/>
                  <a:gd name="T2" fmla="*/ 0 w 1466"/>
                  <a:gd name="T3" fmla="*/ 700 h 700"/>
                  <a:gd name="T4" fmla="*/ 733 w 1466"/>
                  <a:gd name="T5" fmla="*/ 700 h 700"/>
                  <a:gd name="T6" fmla="*/ 1466 w 1466"/>
                  <a:gd name="T7" fmla="*/ 700 h 700"/>
                  <a:gd name="T8" fmla="*/ 1466 w 1466"/>
                  <a:gd name="T9" fmla="*/ 350 h 700"/>
                  <a:gd name="T10" fmla="*/ 1466 w 1466"/>
                  <a:gd name="T11" fmla="*/ 0 h 700"/>
                  <a:gd name="T12" fmla="*/ 733 w 1466"/>
                  <a:gd name="T13" fmla="*/ 0 h 700"/>
                  <a:gd name="T14" fmla="*/ 0 w 1466"/>
                  <a:gd name="T15" fmla="*/ 0 h 700"/>
                  <a:gd name="T16" fmla="*/ 0 w 1466"/>
                  <a:gd name="T17" fmla="*/ 350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66" h="700">
                    <a:moveTo>
                      <a:pt x="0" y="350"/>
                    </a:moveTo>
                    <a:lnTo>
                      <a:pt x="0" y="700"/>
                    </a:lnTo>
                    <a:lnTo>
                      <a:pt x="733" y="700"/>
                    </a:lnTo>
                    <a:lnTo>
                      <a:pt x="1466" y="700"/>
                    </a:lnTo>
                    <a:lnTo>
                      <a:pt x="1466" y="350"/>
                    </a:lnTo>
                    <a:lnTo>
                      <a:pt x="1466" y="0"/>
                    </a:lnTo>
                    <a:lnTo>
                      <a:pt x="733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7" name="Group 18"/>
            <p:cNvGrpSpPr>
              <a:grpSpLocks noChangeAspect="1"/>
            </p:cNvGrpSpPr>
            <p:nvPr/>
          </p:nvGrpSpPr>
          <p:grpSpPr bwMode="auto">
            <a:xfrm>
              <a:off x="779463" y="4277519"/>
              <a:ext cx="2647950" cy="2646362"/>
              <a:chOff x="3789" y="471"/>
              <a:chExt cx="1668" cy="1667"/>
            </a:xfrm>
          </p:grpSpPr>
          <p:sp>
            <p:nvSpPr>
              <p:cNvPr id="48" name="AutoShape 17"/>
              <p:cNvSpPr>
                <a:spLocks noChangeAspect="1" noChangeArrowheads="1" noTextEdit="1"/>
              </p:cNvSpPr>
              <p:nvPr/>
            </p:nvSpPr>
            <p:spPr bwMode="auto">
              <a:xfrm>
                <a:off x="3789" y="471"/>
                <a:ext cx="1668" cy="16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19"/>
              <p:cNvSpPr>
                <a:spLocks noEditPoints="1"/>
              </p:cNvSpPr>
              <p:nvPr/>
            </p:nvSpPr>
            <p:spPr bwMode="auto">
              <a:xfrm>
                <a:off x="3793" y="1018"/>
                <a:ext cx="1644" cy="596"/>
              </a:xfrm>
              <a:custGeom>
                <a:avLst/>
                <a:gdLst>
                  <a:gd name="T0" fmla="*/ 430 w 3306"/>
                  <a:gd name="T1" fmla="*/ 43 h 1199"/>
                  <a:gd name="T2" fmla="*/ 319 w 3306"/>
                  <a:gd name="T3" fmla="*/ 62 h 1199"/>
                  <a:gd name="T4" fmla="*/ 147 w 3306"/>
                  <a:gd name="T5" fmla="*/ 87 h 1199"/>
                  <a:gd name="T6" fmla="*/ 126 w 3306"/>
                  <a:gd name="T7" fmla="*/ 167 h 1199"/>
                  <a:gd name="T8" fmla="*/ 175 w 3306"/>
                  <a:gd name="T9" fmla="*/ 218 h 1199"/>
                  <a:gd name="T10" fmla="*/ 172 w 3306"/>
                  <a:gd name="T11" fmla="*/ 725 h 1199"/>
                  <a:gd name="T12" fmla="*/ 0 w 3306"/>
                  <a:gd name="T13" fmla="*/ 708 h 1199"/>
                  <a:gd name="T14" fmla="*/ 89 w 3306"/>
                  <a:gd name="T15" fmla="*/ 1175 h 1199"/>
                  <a:gd name="T16" fmla="*/ 1542 w 3306"/>
                  <a:gd name="T17" fmla="*/ 1198 h 1199"/>
                  <a:gd name="T18" fmla="*/ 2946 w 3306"/>
                  <a:gd name="T19" fmla="*/ 1179 h 1199"/>
                  <a:gd name="T20" fmla="*/ 3120 w 3306"/>
                  <a:gd name="T21" fmla="*/ 1083 h 1199"/>
                  <a:gd name="T22" fmla="*/ 3283 w 3306"/>
                  <a:gd name="T23" fmla="*/ 852 h 1199"/>
                  <a:gd name="T24" fmla="*/ 3304 w 3306"/>
                  <a:gd name="T25" fmla="*/ 751 h 1199"/>
                  <a:gd name="T26" fmla="*/ 3225 w 3306"/>
                  <a:gd name="T27" fmla="*/ 720 h 1199"/>
                  <a:gd name="T28" fmla="*/ 3019 w 3306"/>
                  <a:gd name="T29" fmla="*/ 728 h 1199"/>
                  <a:gd name="T30" fmla="*/ 2920 w 3306"/>
                  <a:gd name="T31" fmla="*/ 780 h 1199"/>
                  <a:gd name="T32" fmla="*/ 2709 w 3306"/>
                  <a:gd name="T33" fmla="*/ 733 h 1199"/>
                  <a:gd name="T34" fmla="*/ 2518 w 3306"/>
                  <a:gd name="T35" fmla="*/ 856 h 1199"/>
                  <a:gd name="T36" fmla="*/ 2500 w 3306"/>
                  <a:gd name="T37" fmla="*/ 856 h 1199"/>
                  <a:gd name="T38" fmla="*/ 2309 w 3306"/>
                  <a:gd name="T39" fmla="*/ 733 h 1199"/>
                  <a:gd name="T40" fmla="*/ 2118 w 3306"/>
                  <a:gd name="T41" fmla="*/ 856 h 1199"/>
                  <a:gd name="T42" fmla="*/ 2100 w 3306"/>
                  <a:gd name="T43" fmla="*/ 856 h 1199"/>
                  <a:gd name="T44" fmla="*/ 1909 w 3306"/>
                  <a:gd name="T45" fmla="*/ 733 h 1199"/>
                  <a:gd name="T46" fmla="*/ 1718 w 3306"/>
                  <a:gd name="T47" fmla="*/ 856 h 1199"/>
                  <a:gd name="T48" fmla="*/ 1700 w 3306"/>
                  <a:gd name="T49" fmla="*/ 856 h 1199"/>
                  <a:gd name="T50" fmla="*/ 1509 w 3306"/>
                  <a:gd name="T51" fmla="*/ 733 h 1199"/>
                  <a:gd name="T52" fmla="*/ 1318 w 3306"/>
                  <a:gd name="T53" fmla="*/ 856 h 1199"/>
                  <a:gd name="T54" fmla="*/ 1300 w 3306"/>
                  <a:gd name="T55" fmla="*/ 856 h 1199"/>
                  <a:gd name="T56" fmla="*/ 1077 w 3306"/>
                  <a:gd name="T57" fmla="*/ 733 h 1199"/>
                  <a:gd name="T58" fmla="*/ 856 w 3306"/>
                  <a:gd name="T59" fmla="*/ 758 h 1199"/>
                  <a:gd name="T60" fmla="*/ 843 w 3306"/>
                  <a:gd name="T61" fmla="*/ 761 h 1199"/>
                  <a:gd name="T62" fmla="*/ 800 w 3306"/>
                  <a:gd name="T63" fmla="*/ 733 h 1199"/>
                  <a:gd name="T64" fmla="*/ 757 w 3306"/>
                  <a:gd name="T65" fmla="*/ 385 h 1199"/>
                  <a:gd name="T66" fmla="*/ 718 w 3306"/>
                  <a:gd name="T67" fmla="*/ 333 h 1199"/>
                  <a:gd name="T68" fmla="*/ 692 w 3306"/>
                  <a:gd name="T69" fmla="*/ 300 h 1199"/>
                  <a:gd name="T70" fmla="*/ 718 w 3306"/>
                  <a:gd name="T71" fmla="*/ 267 h 1199"/>
                  <a:gd name="T72" fmla="*/ 759 w 3306"/>
                  <a:gd name="T73" fmla="*/ 252 h 1199"/>
                  <a:gd name="T74" fmla="*/ 822 w 3306"/>
                  <a:gd name="T75" fmla="*/ 214 h 1199"/>
                  <a:gd name="T76" fmla="*/ 859 w 3306"/>
                  <a:gd name="T77" fmla="*/ 160 h 1199"/>
                  <a:gd name="T78" fmla="*/ 829 w 3306"/>
                  <a:gd name="T79" fmla="*/ 90 h 1199"/>
                  <a:gd name="T80" fmla="*/ 649 w 3306"/>
                  <a:gd name="T81" fmla="*/ 67 h 1199"/>
                  <a:gd name="T82" fmla="*/ 492 w 3306"/>
                  <a:gd name="T83" fmla="*/ 50 h 1199"/>
                  <a:gd name="T84" fmla="*/ 559 w 3306"/>
                  <a:gd name="T85" fmla="*/ 33 h 1199"/>
                  <a:gd name="T86" fmla="*/ 625 w 3306"/>
                  <a:gd name="T87" fmla="*/ 17 h 1199"/>
                  <a:gd name="T88" fmla="*/ 509 w 3306"/>
                  <a:gd name="T89" fmla="*/ 0 h 1199"/>
                  <a:gd name="T90" fmla="*/ 392 w 3306"/>
                  <a:gd name="T91" fmla="*/ 15 h 1199"/>
                  <a:gd name="T92" fmla="*/ 526 w 3306"/>
                  <a:gd name="T93" fmla="*/ 331 h 1199"/>
                  <a:gd name="T94" fmla="*/ 358 w 3306"/>
                  <a:gd name="T95" fmla="*/ 331 h 1199"/>
                  <a:gd name="T96" fmla="*/ 326 w 3306"/>
                  <a:gd name="T97" fmla="*/ 290 h 1199"/>
                  <a:gd name="T98" fmla="*/ 442 w 3306"/>
                  <a:gd name="T99" fmla="*/ 267 h 1199"/>
                  <a:gd name="T100" fmla="*/ 558 w 3306"/>
                  <a:gd name="T101" fmla="*/ 290 h 1199"/>
                  <a:gd name="T102" fmla="*/ 654 w 3306"/>
                  <a:gd name="T103" fmla="*/ 320 h 1199"/>
                  <a:gd name="T104" fmla="*/ 618 w 3306"/>
                  <a:gd name="T105" fmla="*/ 333 h 1199"/>
                  <a:gd name="T106" fmla="*/ 592 w 3306"/>
                  <a:gd name="T107" fmla="*/ 300 h 1199"/>
                  <a:gd name="T108" fmla="*/ 618 w 3306"/>
                  <a:gd name="T109" fmla="*/ 267 h 1199"/>
                  <a:gd name="T110" fmla="*/ 654 w 3306"/>
                  <a:gd name="T111" fmla="*/ 280 h 1199"/>
                  <a:gd name="T112" fmla="*/ 2799 w 3306"/>
                  <a:gd name="T113" fmla="*/ 921 h 1199"/>
                  <a:gd name="T114" fmla="*/ 1502 w 3306"/>
                  <a:gd name="T115" fmla="*/ 933 h 1199"/>
                  <a:gd name="T116" fmla="*/ 1018 w 3306"/>
                  <a:gd name="T117" fmla="*/ 912 h 1199"/>
                  <a:gd name="T118" fmla="*/ 2315 w 3306"/>
                  <a:gd name="T119" fmla="*/ 901 h 1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06" h="1199">
                    <a:moveTo>
                      <a:pt x="392" y="15"/>
                    </a:moveTo>
                    <a:lnTo>
                      <a:pt x="394" y="22"/>
                    </a:lnTo>
                    <a:lnTo>
                      <a:pt x="415" y="37"/>
                    </a:lnTo>
                    <a:lnTo>
                      <a:pt x="430" y="43"/>
                    </a:lnTo>
                    <a:lnTo>
                      <a:pt x="438" y="46"/>
                    </a:lnTo>
                    <a:lnTo>
                      <a:pt x="434" y="52"/>
                    </a:lnTo>
                    <a:lnTo>
                      <a:pt x="387" y="59"/>
                    </a:lnTo>
                    <a:lnTo>
                      <a:pt x="319" y="62"/>
                    </a:lnTo>
                    <a:lnTo>
                      <a:pt x="257" y="65"/>
                    </a:lnTo>
                    <a:lnTo>
                      <a:pt x="184" y="75"/>
                    </a:lnTo>
                    <a:lnTo>
                      <a:pt x="153" y="83"/>
                    </a:lnTo>
                    <a:lnTo>
                      <a:pt x="147" y="87"/>
                    </a:lnTo>
                    <a:lnTo>
                      <a:pt x="138" y="97"/>
                    </a:lnTo>
                    <a:lnTo>
                      <a:pt x="127" y="133"/>
                    </a:lnTo>
                    <a:lnTo>
                      <a:pt x="125" y="153"/>
                    </a:lnTo>
                    <a:lnTo>
                      <a:pt x="126" y="167"/>
                    </a:lnTo>
                    <a:lnTo>
                      <a:pt x="130" y="187"/>
                    </a:lnTo>
                    <a:lnTo>
                      <a:pt x="142" y="202"/>
                    </a:lnTo>
                    <a:lnTo>
                      <a:pt x="161" y="213"/>
                    </a:lnTo>
                    <a:lnTo>
                      <a:pt x="175" y="218"/>
                    </a:lnTo>
                    <a:lnTo>
                      <a:pt x="225" y="237"/>
                    </a:lnTo>
                    <a:lnTo>
                      <a:pt x="225" y="487"/>
                    </a:lnTo>
                    <a:lnTo>
                      <a:pt x="225" y="737"/>
                    </a:lnTo>
                    <a:lnTo>
                      <a:pt x="172" y="725"/>
                    </a:lnTo>
                    <a:lnTo>
                      <a:pt x="147" y="719"/>
                    </a:lnTo>
                    <a:lnTo>
                      <a:pt x="85" y="712"/>
                    </a:lnTo>
                    <a:lnTo>
                      <a:pt x="59" y="710"/>
                    </a:lnTo>
                    <a:lnTo>
                      <a:pt x="0" y="708"/>
                    </a:lnTo>
                    <a:lnTo>
                      <a:pt x="0" y="925"/>
                    </a:lnTo>
                    <a:lnTo>
                      <a:pt x="0" y="1140"/>
                    </a:lnTo>
                    <a:lnTo>
                      <a:pt x="75" y="1170"/>
                    </a:lnTo>
                    <a:lnTo>
                      <a:pt x="89" y="1175"/>
                    </a:lnTo>
                    <a:lnTo>
                      <a:pt x="126" y="1182"/>
                    </a:lnTo>
                    <a:lnTo>
                      <a:pt x="226" y="1190"/>
                    </a:lnTo>
                    <a:lnTo>
                      <a:pt x="729" y="1198"/>
                    </a:lnTo>
                    <a:lnTo>
                      <a:pt x="1542" y="1198"/>
                    </a:lnTo>
                    <a:lnTo>
                      <a:pt x="2082" y="1199"/>
                    </a:lnTo>
                    <a:lnTo>
                      <a:pt x="2590" y="1197"/>
                    </a:lnTo>
                    <a:lnTo>
                      <a:pt x="2807" y="1191"/>
                    </a:lnTo>
                    <a:lnTo>
                      <a:pt x="2946" y="1179"/>
                    </a:lnTo>
                    <a:lnTo>
                      <a:pt x="3011" y="1163"/>
                    </a:lnTo>
                    <a:lnTo>
                      <a:pt x="3043" y="1151"/>
                    </a:lnTo>
                    <a:lnTo>
                      <a:pt x="3079" y="1126"/>
                    </a:lnTo>
                    <a:lnTo>
                      <a:pt x="3120" y="1083"/>
                    </a:lnTo>
                    <a:lnTo>
                      <a:pt x="3145" y="1055"/>
                    </a:lnTo>
                    <a:lnTo>
                      <a:pt x="3178" y="1017"/>
                    </a:lnTo>
                    <a:lnTo>
                      <a:pt x="3238" y="934"/>
                    </a:lnTo>
                    <a:lnTo>
                      <a:pt x="3283" y="852"/>
                    </a:lnTo>
                    <a:lnTo>
                      <a:pt x="3302" y="800"/>
                    </a:lnTo>
                    <a:lnTo>
                      <a:pt x="3306" y="772"/>
                    </a:lnTo>
                    <a:lnTo>
                      <a:pt x="3305" y="762"/>
                    </a:lnTo>
                    <a:lnTo>
                      <a:pt x="3304" y="751"/>
                    </a:lnTo>
                    <a:lnTo>
                      <a:pt x="3295" y="736"/>
                    </a:lnTo>
                    <a:lnTo>
                      <a:pt x="3277" y="727"/>
                    </a:lnTo>
                    <a:lnTo>
                      <a:pt x="3247" y="721"/>
                    </a:lnTo>
                    <a:lnTo>
                      <a:pt x="3225" y="720"/>
                    </a:lnTo>
                    <a:lnTo>
                      <a:pt x="3189" y="718"/>
                    </a:lnTo>
                    <a:lnTo>
                      <a:pt x="3094" y="721"/>
                    </a:lnTo>
                    <a:lnTo>
                      <a:pt x="3049" y="725"/>
                    </a:lnTo>
                    <a:lnTo>
                      <a:pt x="3019" y="728"/>
                    </a:lnTo>
                    <a:lnTo>
                      <a:pt x="2976" y="736"/>
                    </a:lnTo>
                    <a:lnTo>
                      <a:pt x="2948" y="748"/>
                    </a:lnTo>
                    <a:lnTo>
                      <a:pt x="2929" y="767"/>
                    </a:lnTo>
                    <a:lnTo>
                      <a:pt x="2920" y="780"/>
                    </a:lnTo>
                    <a:lnTo>
                      <a:pt x="2894" y="825"/>
                    </a:lnTo>
                    <a:lnTo>
                      <a:pt x="2892" y="778"/>
                    </a:lnTo>
                    <a:lnTo>
                      <a:pt x="2892" y="733"/>
                    </a:lnTo>
                    <a:lnTo>
                      <a:pt x="2709" y="733"/>
                    </a:lnTo>
                    <a:lnTo>
                      <a:pt x="2525" y="733"/>
                    </a:lnTo>
                    <a:lnTo>
                      <a:pt x="2525" y="800"/>
                    </a:lnTo>
                    <a:lnTo>
                      <a:pt x="2524" y="827"/>
                    </a:lnTo>
                    <a:lnTo>
                      <a:pt x="2518" y="856"/>
                    </a:lnTo>
                    <a:lnTo>
                      <a:pt x="2512" y="866"/>
                    </a:lnTo>
                    <a:lnTo>
                      <a:pt x="2509" y="867"/>
                    </a:lnTo>
                    <a:lnTo>
                      <a:pt x="2506" y="866"/>
                    </a:lnTo>
                    <a:lnTo>
                      <a:pt x="2500" y="856"/>
                    </a:lnTo>
                    <a:lnTo>
                      <a:pt x="2493" y="827"/>
                    </a:lnTo>
                    <a:lnTo>
                      <a:pt x="2492" y="800"/>
                    </a:lnTo>
                    <a:lnTo>
                      <a:pt x="2492" y="733"/>
                    </a:lnTo>
                    <a:lnTo>
                      <a:pt x="2309" y="733"/>
                    </a:lnTo>
                    <a:lnTo>
                      <a:pt x="2125" y="733"/>
                    </a:lnTo>
                    <a:lnTo>
                      <a:pt x="2125" y="800"/>
                    </a:lnTo>
                    <a:lnTo>
                      <a:pt x="2124" y="827"/>
                    </a:lnTo>
                    <a:lnTo>
                      <a:pt x="2118" y="856"/>
                    </a:lnTo>
                    <a:lnTo>
                      <a:pt x="2112" y="866"/>
                    </a:lnTo>
                    <a:lnTo>
                      <a:pt x="2109" y="867"/>
                    </a:lnTo>
                    <a:lnTo>
                      <a:pt x="2106" y="866"/>
                    </a:lnTo>
                    <a:lnTo>
                      <a:pt x="2100" y="856"/>
                    </a:lnTo>
                    <a:lnTo>
                      <a:pt x="2093" y="827"/>
                    </a:lnTo>
                    <a:lnTo>
                      <a:pt x="2092" y="800"/>
                    </a:lnTo>
                    <a:lnTo>
                      <a:pt x="2092" y="733"/>
                    </a:lnTo>
                    <a:lnTo>
                      <a:pt x="1909" y="733"/>
                    </a:lnTo>
                    <a:lnTo>
                      <a:pt x="1725" y="733"/>
                    </a:lnTo>
                    <a:lnTo>
                      <a:pt x="1725" y="800"/>
                    </a:lnTo>
                    <a:lnTo>
                      <a:pt x="1724" y="827"/>
                    </a:lnTo>
                    <a:lnTo>
                      <a:pt x="1718" y="856"/>
                    </a:lnTo>
                    <a:lnTo>
                      <a:pt x="1712" y="866"/>
                    </a:lnTo>
                    <a:lnTo>
                      <a:pt x="1709" y="867"/>
                    </a:lnTo>
                    <a:lnTo>
                      <a:pt x="1706" y="866"/>
                    </a:lnTo>
                    <a:lnTo>
                      <a:pt x="1700" y="856"/>
                    </a:lnTo>
                    <a:lnTo>
                      <a:pt x="1693" y="827"/>
                    </a:lnTo>
                    <a:lnTo>
                      <a:pt x="1692" y="800"/>
                    </a:lnTo>
                    <a:lnTo>
                      <a:pt x="1692" y="733"/>
                    </a:lnTo>
                    <a:lnTo>
                      <a:pt x="1509" y="733"/>
                    </a:lnTo>
                    <a:lnTo>
                      <a:pt x="1325" y="733"/>
                    </a:lnTo>
                    <a:lnTo>
                      <a:pt x="1325" y="800"/>
                    </a:lnTo>
                    <a:lnTo>
                      <a:pt x="1324" y="827"/>
                    </a:lnTo>
                    <a:lnTo>
                      <a:pt x="1318" y="856"/>
                    </a:lnTo>
                    <a:lnTo>
                      <a:pt x="1312" y="866"/>
                    </a:lnTo>
                    <a:lnTo>
                      <a:pt x="1309" y="867"/>
                    </a:lnTo>
                    <a:lnTo>
                      <a:pt x="1306" y="866"/>
                    </a:lnTo>
                    <a:lnTo>
                      <a:pt x="1300" y="856"/>
                    </a:lnTo>
                    <a:lnTo>
                      <a:pt x="1293" y="827"/>
                    </a:lnTo>
                    <a:lnTo>
                      <a:pt x="1292" y="800"/>
                    </a:lnTo>
                    <a:lnTo>
                      <a:pt x="1292" y="733"/>
                    </a:lnTo>
                    <a:lnTo>
                      <a:pt x="1077" y="733"/>
                    </a:lnTo>
                    <a:lnTo>
                      <a:pt x="1005" y="733"/>
                    </a:lnTo>
                    <a:lnTo>
                      <a:pt x="914" y="735"/>
                    </a:lnTo>
                    <a:lnTo>
                      <a:pt x="871" y="743"/>
                    </a:lnTo>
                    <a:lnTo>
                      <a:pt x="856" y="758"/>
                    </a:lnTo>
                    <a:lnTo>
                      <a:pt x="854" y="770"/>
                    </a:lnTo>
                    <a:lnTo>
                      <a:pt x="847" y="808"/>
                    </a:lnTo>
                    <a:lnTo>
                      <a:pt x="844" y="770"/>
                    </a:lnTo>
                    <a:lnTo>
                      <a:pt x="843" y="761"/>
                    </a:lnTo>
                    <a:lnTo>
                      <a:pt x="838" y="746"/>
                    </a:lnTo>
                    <a:lnTo>
                      <a:pt x="828" y="738"/>
                    </a:lnTo>
                    <a:lnTo>
                      <a:pt x="812" y="734"/>
                    </a:lnTo>
                    <a:lnTo>
                      <a:pt x="800" y="733"/>
                    </a:lnTo>
                    <a:lnTo>
                      <a:pt x="759" y="733"/>
                    </a:lnTo>
                    <a:lnTo>
                      <a:pt x="759" y="533"/>
                    </a:lnTo>
                    <a:lnTo>
                      <a:pt x="759" y="468"/>
                    </a:lnTo>
                    <a:lnTo>
                      <a:pt x="757" y="385"/>
                    </a:lnTo>
                    <a:lnTo>
                      <a:pt x="750" y="346"/>
                    </a:lnTo>
                    <a:lnTo>
                      <a:pt x="736" y="334"/>
                    </a:lnTo>
                    <a:lnTo>
                      <a:pt x="725" y="333"/>
                    </a:lnTo>
                    <a:lnTo>
                      <a:pt x="718" y="333"/>
                    </a:lnTo>
                    <a:lnTo>
                      <a:pt x="705" y="329"/>
                    </a:lnTo>
                    <a:lnTo>
                      <a:pt x="697" y="320"/>
                    </a:lnTo>
                    <a:lnTo>
                      <a:pt x="692" y="308"/>
                    </a:lnTo>
                    <a:lnTo>
                      <a:pt x="692" y="300"/>
                    </a:lnTo>
                    <a:lnTo>
                      <a:pt x="692" y="292"/>
                    </a:lnTo>
                    <a:lnTo>
                      <a:pt x="697" y="280"/>
                    </a:lnTo>
                    <a:lnTo>
                      <a:pt x="705" y="271"/>
                    </a:lnTo>
                    <a:lnTo>
                      <a:pt x="718" y="267"/>
                    </a:lnTo>
                    <a:lnTo>
                      <a:pt x="725" y="267"/>
                    </a:lnTo>
                    <a:lnTo>
                      <a:pt x="739" y="266"/>
                    </a:lnTo>
                    <a:lnTo>
                      <a:pt x="757" y="258"/>
                    </a:lnTo>
                    <a:lnTo>
                      <a:pt x="759" y="252"/>
                    </a:lnTo>
                    <a:lnTo>
                      <a:pt x="762" y="245"/>
                    </a:lnTo>
                    <a:lnTo>
                      <a:pt x="789" y="226"/>
                    </a:lnTo>
                    <a:lnTo>
                      <a:pt x="809" y="218"/>
                    </a:lnTo>
                    <a:lnTo>
                      <a:pt x="822" y="214"/>
                    </a:lnTo>
                    <a:lnTo>
                      <a:pt x="841" y="203"/>
                    </a:lnTo>
                    <a:lnTo>
                      <a:pt x="853" y="189"/>
                    </a:lnTo>
                    <a:lnTo>
                      <a:pt x="858" y="171"/>
                    </a:lnTo>
                    <a:lnTo>
                      <a:pt x="859" y="160"/>
                    </a:lnTo>
                    <a:lnTo>
                      <a:pt x="858" y="146"/>
                    </a:lnTo>
                    <a:lnTo>
                      <a:pt x="854" y="123"/>
                    </a:lnTo>
                    <a:lnTo>
                      <a:pt x="845" y="104"/>
                    </a:lnTo>
                    <a:lnTo>
                      <a:pt x="829" y="90"/>
                    </a:lnTo>
                    <a:lnTo>
                      <a:pt x="806" y="80"/>
                    </a:lnTo>
                    <a:lnTo>
                      <a:pt x="774" y="73"/>
                    </a:lnTo>
                    <a:lnTo>
                      <a:pt x="709" y="67"/>
                    </a:lnTo>
                    <a:lnTo>
                      <a:pt x="649" y="67"/>
                    </a:lnTo>
                    <a:lnTo>
                      <a:pt x="582" y="66"/>
                    </a:lnTo>
                    <a:lnTo>
                      <a:pt x="516" y="60"/>
                    </a:lnTo>
                    <a:lnTo>
                      <a:pt x="494" y="54"/>
                    </a:lnTo>
                    <a:lnTo>
                      <a:pt x="492" y="50"/>
                    </a:lnTo>
                    <a:lnTo>
                      <a:pt x="493" y="46"/>
                    </a:lnTo>
                    <a:lnTo>
                      <a:pt x="503" y="40"/>
                    </a:lnTo>
                    <a:lnTo>
                      <a:pt x="532" y="34"/>
                    </a:lnTo>
                    <a:lnTo>
                      <a:pt x="559" y="33"/>
                    </a:lnTo>
                    <a:lnTo>
                      <a:pt x="585" y="32"/>
                    </a:lnTo>
                    <a:lnTo>
                      <a:pt x="614" y="26"/>
                    </a:lnTo>
                    <a:lnTo>
                      <a:pt x="624" y="20"/>
                    </a:lnTo>
                    <a:lnTo>
                      <a:pt x="625" y="17"/>
                    </a:lnTo>
                    <a:lnTo>
                      <a:pt x="624" y="13"/>
                    </a:lnTo>
                    <a:lnTo>
                      <a:pt x="607" y="7"/>
                    </a:lnTo>
                    <a:lnTo>
                      <a:pt x="557" y="1"/>
                    </a:lnTo>
                    <a:lnTo>
                      <a:pt x="509" y="0"/>
                    </a:lnTo>
                    <a:lnTo>
                      <a:pt x="462" y="1"/>
                    </a:lnTo>
                    <a:lnTo>
                      <a:pt x="412" y="7"/>
                    </a:lnTo>
                    <a:lnTo>
                      <a:pt x="394" y="12"/>
                    </a:lnTo>
                    <a:lnTo>
                      <a:pt x="392" y="15"/>
                    </a:lnTo>
                    <a:close/>
                    <a:moveTo>
                      <a:pt x="559" y="300"/>
                    </a:moveTo>
                    <a:lnTo>
                      <a:pt x="558" y="310"/>
                    </a:lnTo>
                    <a:lnTo>
                      <a:pt x="550" y="324"/>
                    </a:lnTo>
                    <a:lnTo>
                      <a:pt x="526" y="331"/>
                    </a:lnTo>
                    <a:lnTo>
                      <a:pt x="478" y="333"/>
                    </a:lnTo>
                    <a:lnTo>
                      <a:pt x="442" y="333"/>
                    </a:lnTo>
                    <a:lnTo>
                      <a:pt x="406" y="333"/>
                    </a:lnTo>
                    <a:lnTo>
                      <a:pt x="358" y="331"/>
                    </a:lnTo>
                    <a:lnTo>
                      <a:pt x="334" y="324"/>
                    </a:lnTo>
                    <a:lnTo>
                      <a:pt x="326" y="310"/>
                    </a:lnTo>
                    <a:lnTo>
                      <a:pt x="325" y="300"/>
                    </a:lnTo>
                    <a:lnTo>
                      <a:pt x="326" y="290"/>
                    </a:lnTo>
                    <a:lnTo>
                      <a:pt x="334" y="276"/>
                    </a:lnTo>
                    <a:lnTo>
                      <a:pt x="358" y="269"/>
                    </a:lnTo>
                    <a:lnTo>
                      <a:pt x="406" y="267"/>
                    </a:lnTo>
                    <a:lnTo>
                      <a:pt x="442" y="267"/>
                    </a:lnTo>
                    <a:lnTo>
                      <a:pt x="478" y="267"/>
                    </a:lnTo>
                    <a:lnTo>
                      <a:pt x="526" y="269"/>
                    </a:lnTo>
                    <a:lnTo>
                      <a:pt x="550" y="276"/>
                    </a:lnTo>
                    <a:lnTo>
                      <a:pt x="558" y="290"/>
                    </a:lnTo>
                    <a:lnTo>
                      <a:pt x="559" y="300"/>
                    </a:lnTo>
                    <a:close/>
                    <a:moveTo>
                      <a:pt x="659" y="300"/>
                    </a:moveTo>
                    <a:lnTo>
                      <a:pt x="658" y="308"/>
                    </a:lnTo>
                    <a:lnTo>
                      <a:pt x="654" y="320"/>
                    </a:lnTo>
                    <a:lnTo>
                      <a:pt x="646" y="329"/>
                    </a:lnTo>
                    <a:lnTo>
                      <a:pt x="633" y="333"/>
                    </a:lnTo>
                    <a:lnTo>
                      <a:pt x="625" y="333"/>
                    </a:lnTo>
                    <a:lnTo>
                      <a:pt x="618" y="333"/>
                    </a:lnTo>
                    <a:lnTo>
                      <a:pt x="605" y="329"/>
                    </a:lnTo>
                    <a:lnTo>
                      <a:pt x="597" y="320"/>
                    </a:lnTo>
                    <a:lnTo>
                      <a:pt x="592" y="308"/>
                    </a:lnTo>
                    <a:lnTo>
                      <a:pt x="592" y="300"/>
                    </a:lnTo>
                    <a:lnTo>
                      <a:pt x="592" y="292"/>
                    </a:lnTo>
                    <a:lnTo>
                      <a:pt x="597" y="280"/>
                    </a:lnTo>
                    <a:lnTo>
                      <a:pt x="605" y="271"/>
                    </a:lnTo>
                    <a:lnTo>
                      <a:pt x="618" y="267"/>
                    </a:lnTo>
                    <a:lnTo>
                      <a:pt x="625" y="267"/>
                    </a:lnTo>
                    <a:lnTo>
                      <a:pt x="633" y="267"/>
                    </a:lnTo>
                    <a:lnTo>
                      <a:pt x="646" y="271"/>
                    </a:lnTo>
                    <a:lnTo>
                      <a:pt x="654" y="280"/>
                    </a:lnTo>
                    <a:lnTo>
                      <a:pt x="658" y="292"/>
                    </a:lnTo>
                    <a:lnTo>
                      <a:pt x="659" y="300"/>
                    </a:lnTo>
                    <a:close/>
                    <a:moveTo>
                      <a:pt x="2809" y="917"/>
                    </a:moveTo>
                    <a:lnTo>
                      <a:pt x="2799" y="921"/>
                    </a:lnTo>
                    <a:lnTo>
                      <a:pt x="2684" y="927"/>
                    </a:lnTo>
                    <a:lnTo>
                      <a:pt x="2315" y="933"/>
                    </a:lnTo>
                    <a:lnTo>
                      <a:pt x="1909" y="933"/>
                    </a:lnTo>
                    <a:lnTo>
                      <a:pt x="1502" y="933"/>
                    </a:lnTo>
                    <a:lnTo>
                      <a:pt x="1134" y="927"/>
                    </a:lnTo>
                    <a:lnTo>
                      <a:pt x="1018" y="921"/>
                    </a:lnTo>
                    <a:lnTo>
                      <a:pt x="1009" y="917"/>
                    </a:lnTo>
                    <a:lnTo>
                      <a:pt x="1018" y="912"/>
                    </a:lnTo>
                    <a:lnTo>
                      <a:pt x="1134" y="906"/>
                    </a:lnTo>
                    <a:lnTo>
                      <a:pt x="1502" y="901"/>
                    </a:lnTo>
                    <a:lnTo>
                      <a:pt x="1909" y="900"/>
                    </a:lnTo>
                    <a:lnTo>
                      <a:pt x="2315" y="901"/>
                    </a:lnTo>
                    <a:lnTo>
                      <a:pt x="2684" y="906"/>
                    </a:lnTo>
                    <a:lnTo>
                      <a:pt x="2799" y="912"/>
                    </a:lnTo>
                    <a:lnTo>
                      <a:pt x="2809" y="917"/>
                    </a:lnTo>
                    <a:close/>
                  </a:path>
                </a:pathLst>
              </a:custGeom>
              <a:gradFill>
                <a:gsLst>
                  <a:gs pos="14000">
                    <a:schemeClr val="bg2">
                      <a:lumMod val="50000"/>
                    </a:schemeClr>
                  </a:gs>
                  <a:gs pos="96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4" name="TextBox 73"/>
          <p:cNvSpPr txBox="1"/>
          <p:nvPr/>
        </p:nvSpPr>
        <p:spPr>
          <a:xfrm>
            <a:off x="5859670" y="3851294"/>
            <a:ext cx="207375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öviz Kazandırıc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izmet Faaliyetleri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3437095" y="3577077"/>
            <a:ext cx="2160834" cy="2450091"/>
            <a:chOff x="6440526" y="3560759"/>
            <a:chExt cx="2399746" cy="2832107"/>
          </a:xfrm>
        </p:grpSpPr>
        <p:grpSp>
          <p:nvGrpSpPr>
            <p:cNvPr id="79" name="Group 78"/>
            <p:cNvGrpSpPr/>
            <p:nvPr/>
          </p:nvGrpSpPr>
          <p:grpSpPr>
            <a:xfrm>
              <a:off x="6440526" y="3560759"/>
              <a:ext cx="2211474" cy="2832107"/>
              <a:chOff x="5742742" y="2707673"/>
              <a:chExt cx="2728960" cy="3154698"/>
            </a:xfrm>
          </p:grpSpPr>
          <p:grpSp>
            <p:nvGrpSpPr>
              <p:cNvPr id="60" name="Group 31"/>
              <p:cNvGrpSpPr>
                <a:grpSpLocks noChangeAspect="1"/>
              </p:cNvGrpSpPr>
              <p:nvPr/>
            </p:nvGrpSpPr>
            <p:grpSpPr bwMode="auto">
              <a:xfrm rot="20420294">
                <a:off x="5742742" y="2707673"/>
                <a:ext cx="1585755" cy="1585021"/>
                <a:chOff x="1679" y="0"/>
                <a:chExt cx="4322" cy="4320"/>
              </a:xfrm>
            </p:grpSpPr>
            <p:sp>
              <p:nvSpPr>
                <p:cNvPr id="61" name="AutoShape 30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79" y="0"/>
                  <a:ext cx="4322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 32"/>
                <p:cNvSpPr>
                  <a:spLocks/>
                </p:cNvSpPr>
                <p:nvPr/>
              </p:nvSpPr>
              <p:spPr bwMode="auto">
                <a:xfrm>
                  <a:off x="3459" y="1065"/>
                  <a:ext cx="1099" cy="736"/>
                </a:xfrm>
                <a:custGeom>
                  <a:avLst/>
                  <a:gdLst>
                    <a:gd name="T0" fmla="*/ 20 w 2715"/>
                    <a:gd name="T1" fmla="*/ 37 h 1817"/>
                    <a:gd name="T2" fmla="*/ 113 w 2715"/>
                    <a:gd name="T3" fmla="*/ 198 h 1817"/>
                    <a:gd name="T4" fmla="*/ 535 w 2715"/>
                    <a:gd name="T5" fmla="*/ 917 h 1817"/>
                    <a:gd name="T6" fmla="*/ 664 w 2715"/>
                    <a:gd name="T7" fmla="*/ 1139 h 1817"/>
                    <a:gd name="T8" fmla="*/ 835 w 2715"/>
                    <a:gd name="T9" fmla="*/ 1434 h 1817"/>
                    <a:gd name="T10" fmla="*/ 988 w 2715"/>
                    <a:gd name="T11" fmla="*/ 1692 h 1817"/>
                    <a:gd name="T12" fmla="*/ 1049 w 2715"/>
                    <a:gd name="T13" fmla="*/ 1787 h 1817"/>
                    <a:gd name="T14" fmla="*/ 1053 w 2715"/>
                    <a:gd name="T15" fmla="*/ 1792 h 1817"/>
                    <a:gd name="T16" fmla="*/ 1070 w 2715"/>
                    <a:gd name="T17" fmla="*/ 1800 h 1817"/>
                    <a:gd name="T18" fmla="*/ 1122 w 2715"/>
                    <a:gd name="T19" fmla="*/ 1809 h 1817"/>
                    <a:gd name="T20" fmla="*/ 1412 w 2715"/>
                    <a:gd name="T21" fmla="*/ 1817 h 1817"/>
                    <a:gd name="T22" fmla="*/ 1897 w 2715"/>
                    <a:gd name="T23" fmla="*/ 1817 h 1817"/>
                    <a:gd name="T24" fmla="*/ 2239 w 2715"/>
                    <a:gd name="T25" fmla="*/ 1816 h 1817"/>
                    <a:gd name="T26" fmla="*/ 2588 w 2715"/>
                    <a:gd name="T27" fmla="*/ 1810 h 1817"/>
                    <a:gd name="T28" fmla="*/ 2706 w 2715"/>
                    <a:gd name="T29" fmla="*/ 1805 h 1817"/>
                    <a:gd name="T30" fmla="*/ 2715 w 2715"/>
                    <a:gd name="T31" fmla="*/ 1802 h 1817"/>
                    <a:gd name="T32" fmla="*/ 2692 w 2715"/>
                    <a:gd name="T33" fmla="*/ 1776 h 1817"/>
                    <a:gd name="T34" fmla="*/ 2481 w 2715"/>
                    <a:gd name="T35" fmla="*/ 1575 h 1817"/>
                    <a:gd name="T36" fmla="*/ 2327 w 2715"/>
                    <a:gd name="T37" fmla="*/ 1432 h 1817"/>
                    <a:gd name="T38" fmla="*/ 1935 w 2715"/>
                    <a:gd name="T39" fmla="*/ 1069 h 1817"/>
                    <a:gd name="T40" fmla="*/ 1520 w 2715"/>
                    <a:gd name="T41" fmla="*/ 685 h 1817"/>
                    <a:gd name="T42" fmla="*/ 1054 w 2715"/>
                    <a:gd name="T43" fmla="*/ 252 h 1817"/>
                    <a:gd name="T44" fmla="*/ 995 w 2715"/>
                    <a:gd name="T45" fmla="*/ 198 h 1817"/>
                    <a:gd name="T46" fmla="*/ 899 w 2715"/>
                    <a:gd name="T47" fmla="*/ 107 h 1817"/>
                    <a:gd name="T48" fmla="*/ 787 w 2715"/>
                    <a:gd name="T49" fmla="*/ 0 h 1817"/>
                    <a:gd name="T50" fmla="*/ 394 w 2715"/>
                    <a:gd name="T51" fmla="*/ 0 h 1817"/>
                    <a:gd name="T52" fmla="*/ 0 w 2715"/>
                    <a:gd name="T53" fmla="*/ 0 h 1817"/>
                    <a:gd name="T54" fmla="*/ 20 w 2715"/>
                    <a:gd name="T55" fmla="*/ 37 h 18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15" h="1817">
                      <a:moveTo>
                        <a:pt x="20" y="37"/>
                      </a:moveTo>
                      <a:lnTo>
                        <a:pt x="113" y="198"/>
                      </a:lnTo>
                      <a:lnTo>
                        <a:pt x="535" y="917"/>
                      </a:lnTo>
                      <a:lnTo>
                        <a:pt x="664" y="1139"/>
                      </a:lnTo>
                      <a:lnTo>
                        <a:pt x="835" y="1434"/>
                      </a:lnTo>
                      <a:lnTo>
                        <a:pt x="988" y="1692"/>
                      </a:lnTo>
                      <a:lnTo>
                        <a:pt x="1049" y="1787"/>
                      </a:lnTo>
                      <a:lnTo>
                        <a:pt x="1053" y="1792"/>
                      </a:lnTo>
                      <a:lnTo>
                        <a:pt x="1070" y="1800"/>
                      </a:lnTo>
                      <a:lnTo>
                        <a:pt x="1122" y="1809"/>
                      </a:lnTo>
                      <a:lnTo>
                        <a:pt x="1412" y="1817"/>
                      </a:lnTo>
                      <a:lnTo>
                        <a:pt x="1897" y="1817"/>
                      </a:lnTo>
                      <a:lnTo>
                        <a:pt x="2239" y="1816"/>
                      </a:lnTo>
                      <a:lnTo>
                        <a:pt x="2588" y="1810"/>
                      </a:lnTo>
                      <a:lnTo>
                        <a:pt x="2706" y="1805"/>
                      </a:lnTo>
                      <a:lnTo>
                        <a:pt x="2715" y="1802"/>
                      </a:lnTo>
                      <a:lnTo>
                        <a:pt x="2692" y="1776"/>
                      </a:lnTo>
                      <a:lnTo>
                        <a:pt x="2481" y="1575"/>
                      </a:lnTo>
                      <a:lnTo>
                        <a:pt x="2327" y="1432"/>
                      </a:lnTo>
                      <a:lnTo>
                        <a:pt x="1935" y="1069"/>
                      </a:lnTo>
                      <a:lnTo>
                        <a:pt x="1520" y="685"/>
                      </a:lnTo>
                      <a:lnTo>
                        <a:pt x="1054" y="252"/>
                      </a:lnTo>
                      <a:lnTo>
                        <a:pt x="995" y="198"/>
                      </a:lnTo>
                      <a:lnTo>
                        <a:pt x="899" y="107"/>
                      </a:lnTo>
                      <a:lnTo>
                        <a:pt x="787" y="0"/>
                      </a:lnTo>
                      <a:lnTo>
                        <a:pt x="394" y="0"/>
                      </a:lnTo>
                      <a:lnTo>
                        <a:pt x="0" y="0"/>
                      </a:lnTo>
                      <a:lnTo>
                        <a:pt x="20" y="37"/>
                      </a:lnTo>
                      <a:close/>
                    </a:path>
                  </a:pathLst>
                </a:custGeom>
                <a:solidFill>
                  <a:srgbClr val="B516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Freeform 33"/>
                <p:cNvSpPr>
                  <a:spLocks noEditPoints="1"/>
                </p:cNvSpPr>
                <p:nvPr/>
              </p:nvSpPr>
              <p:spPr bwMode="auto">
                <a:xfrm>
                  <a:off x="1990" y="1342"/>
                  <a:ext cx="3694" cy="1153"/>
                </a:xfrm>
                <a:custGeom>
                  <a:avLst/>
                  <a:gdLst>
                    <a:gd name="T0" fmla="*/ 1 w 9125"/>
                    <a:gd name="T1" fmla="*/ 175 h 2850"/>
                    <a:gd name="T2" fmla="*/ 1044 w 9125"/>
                    <a:gd name="T3" fmla="*/ 1914 h 2850"/>
                    <a:gd name="T4" fmla="*/ 7517 w 9125"/>
                    <a:gd name="T5" fmla="*/ 2848 h 2850"/>
                    <a:gd name="T6" fmla="*/ 8743 w 9125"/>
                    <a:gd name="T7" fmla="*/ 2741 h 2850"/>
                    <a:gd name="T8" fmla="*/ 9097 w 9125"/>
                    <a:gd name="T9" fmla="*/ 2407 h 2850"/>
                    <a:gd name="T10" fmla="*/ 9034 w 9125"/>
                    <a:gd name="T11" fmla="*/ 1701 h 2850"/>
                    <a:gd name="T12" fmla="*/ 8752 w 9125"/>
                    <a:gd name="T13" fmla="*/ 1315 h 2850"/>
                    <a:gd name="T14" fmla="*/ 2536 w 9125"/>
                    <a:gd name="T15" fmla="*/ 1176 h 2850"/>
                    <a:gd name="T16" fmla="*/ 1258 w 9125"/>
                    <a:gd name="T17" fmla="*/ 286 h 2850"/>
                    <a:gd name="T18" fmla="*/ 801 w 9125"/>
                    <a:gd name="T19" fmla="*/ 9 h 2850"/>
                    <a:gd name="T20" fmla="*/ 2744 w 9125"/>
                    <a:gd name="T21" fmla="*/ 1653 h 2850"/>
                    <a:gd name="T22" fmla="*/ 2740 w 9125"/>
                    <a:gd name="T23" fmla="*/ 1966 h 2850"/>
                    <a:gd name="T24" fmla="*/ 2532 w 9125"/>
                    <a:gd name="T25" fmla="*/ 2016 h 2850"/>
                    <a:gd name="T26" fmla="*/ 2369 w 9125"/>
                    <a:gd name="T27" fmla="*/ 1904 h 2850"/>
                    <a:gd name="T28" fmla="*/ 2400 w 9125"/>
                    <a:gd name="T29" fmla="*/ 1660 h 2850"/>
                    <a:gd name="T30" fmla="*/ 2700 w 9125"/>
                    <a:gd name="T31" fmla="*/ 1626 h 2850"/>
                    <a:gd name="T32" fmla="*/ 3514 w 9125"/>
                    <a:gd name="T33" fmla="*/ 1778 h 2850"/>
                    <a:gd name="T34" fmla="*/ 3371 w 9125"/>
                    <a:gd name="T35" fmla="*/ 2016 h 2850"/>
                    <a:gd name="T36" fmla="*/ 3144 w 9125"/>
                    <a:gd name="T37" fmla="*/ 1962 h 2850"/>
                    <a:gd name="T38" fmla="*/ 3139 w 9125"/>
                    <a:gd name="T39" fmla="*/ 1660 h 2850"/>
                    <a:gd name="T40" fmla="*/ 3448 w 9125"/>
                    <a:gd name="T41" fmla="*/ 1627 h 2850"/>
                    <a:gd name="T42" fmla="*/ 4257 w 9125"/>
                    <a:gd name="T43" fmla="*/ 1781 h 2850"/>
                    <a:gd name="T44" fmla="*/ 4118 w 9125"/>
                    <a:gd name="T45" fmla="*/ 2016 h 2850"/>
                    <a:gd name="T46" fmla="*/ 3856 w 9125"/>
                    <a:gd name="T47" fmla="*/ 1888 h 2850"/>
                    <a:gd name="T48" fmla="*/ 3894 w 9125"/>
                    <a:gd name="T49" fmla="*/ 1646 h 2850"/>
                    <a:gd name="T50" fmla="*/ 4192 w 9125"/>
                    <a:gd name="T51" fmla="*/ 1627 h 2850"/>
                    <a:gd name="T52" fmla="*/ 4998 w 9125"/>
                    <a:gd name="T53" fmla="*/ 1787 h 2850"/>
                    <a:gd name="T54" fmla="*/ 4944 w 9125"/>
                    <a:gd name="T55" fmla="*/ 1987 h 2850"/>
                    <a:gd name="T56" fmla="*/ 4667 w 9125"/>
                    <a:gd name="T57" fmla="*/ 2006 h 2850"/>
                    <a:gd name="T58" fmla="*/ 4585 w 9125"/>
                    <a:gd name="T59" fmla="*/ 1791 h 2850"/>
                    <a:gd name="T60" fmla="*/ 4719 w 9125"/>
                    <a:gd name="T61" fmla="*/ 1617 h 2850"/>
                    <a:gd name="T62" fmla="*/ 5699 w 9125"/>
                    <a:gd name="T63" fmla="*/ 1650 h 2850"/>
                    <a:gd name="T64" fmla="*/ 5729 w 9125"/>
                    <a:gd name="T65" fmla="*/ 1901 h 2850"/>
                    <a:gd name="T66" fmla="*/ 5570 w 9125"/>
                    <a:gd name="T67" fmla="*/ 2016 h 2850"/>
                    <a:gd name="T68" fmla="*/ 5361 w 9125"/>
                    <a:gd name="T69" fmla="*/ 1970 h 2850"/>
                    <a:gd name="T70" fmla="*/ 5354 w 9125"/>
                    <a:gd name="T71" fmla="*/ 1659 h 2850"/>
                    <a:gd name="T72" fmla="*/ 5663 w 9125"/>
                    <a:gd name="T73" fmla="*/ 1626 h 2850"/>
                    <a:gd name="T74" fmla="*/ 6482 w 9125"/>
                    <a:gd name="T75" fmla="*/ 1774 h 2850"/>
                    <a:gd name="T76" fmla="*/ 6428 w 9125"/>
                    <a:gd name="T77" fmla="*/ 1987 h 2850"/>
                    <a:gd name="T78" fmla="*/ 6167 w 9125"/>
                    <a:gd name="T79" fmla="*/ 2005 h 2850"/>
                    <a:gd name="T80" fmla="*/ 6082 w 9125"/>
                    <a:gd name="T81" fmla="*/ 1818 h 2850"/>
                    <a:gd name="T82" fmla="*/ 6269 w 9125"/>
                    <a:gd name="T83" fmla="*/ 1616 h 2850"/>
                    <a:gd name="T84" fmla="*/ 7192 w 9125"/>
                    <a:gd name="T85" fmla="*/ 1660 h 2850"/>
                    <a:gd name="T86" fmla="*/ 7204 w 9125"/>
                    <a:gd name="T87" fmla="*/ 1948 h 2850"/>
                    <a:gd name="T88" fmla="*/ 7012 w 9125"/>
                    <a:gd name="T89" fmla="*/ 2016 h 2850"/>
                    <a:gd name="T90" fmla="*/ 6827 w 9125"/>
                    <a:gd name="T91" fmla="*/ 1936 h 2850"/>
                    <a:gd name="T92" fmla="*/ 6859 w 9125"/>
                    <a:gd name="T93" fmla="*/ 1639 h 2850"/>
                    <a:gd name="T94" fmla="*/ 7171 w 9125"/>
                    <a:gd name="T95" fmla="*/ 1640 h 2850"/>
                    <a:gd name="T96" fmla="*/ 7965 w 9125"/>
                    <a:gd name="T97" fmla="*/ 1811 h 2850"/>
                    <a:gd name="T98" fmla="*/ 7886 w 9125"/>
                    <a:gd name="T99" fmla="*/ 2004 h 2850"/>
                    <a:gd name="T100" fmla="*/ 7622 w 9125"/>
                    <a:gd name="T101" fmla="*/ 1991 h 2850"/>
                    <a:gd name="T102" fmla="*/ 7566 w 9125"/>
                    <a:gd name="T103" fmla="*/ 1752 h 2850"/>
                    <a:gd name="T104" fmla="*/ 7806 w 9125"/>
                    <a:gd name="T105" fmla="*/ 1616 h 2850"/>
                    <a:gd name="T106" fmla="*/ 8689 w 9125"/>
                    <a:gd name="T107" fmla="*/ 1693 h 2850"/>
                    <a:gd name="T108" fmla="*/ 8655 w 9125"/>
                    <a:gd name="T109" fmla="*/ 1981 h 2850"/>
                    <a:gd name="T110" fmla="*/ 8411 w 9125"/>
                    <a:gd name="T111" fmla="*/ 2013 h 2850"/>
                    <a:gd name="T112" fmla="*/ 8299 w 9125"/>
                    <a:gd name="T113" fmla="*/ 1849 h 2850"/>
                    <a:gd name="T114" fmla="*/ 8442 w 9125"/>
                    <a:gd name="T115" fmla="*/ 1617 h 28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9125" h="2850">
                      <a:moveTo>
                        <a:pt x="140" y="25"/>
                      </a:moveTo>
                      <a:lnTo>
                        <a:pt x="118" y="33"/>
                      </a:lnTo>
                      <a:lnTo>
                        <a:pt x="80" y="54"/>
                      </a:lnTo>
                      <a:lnTo>
                        <a:pt x="49" y="79"/>
                      </a:lnTo>
                      <a:lnTo>
                        <a:pt x="25" y="107"/>
                      </a:lnTo>
                      <a:lnTo>
                        <a:pt x="9" y="139"/>
                      </a:lnTo>
                      <a:lnTo>
                        <a:pt x="1" y="175"/>
                      </a:lnTo>
                      <a:lnTo>
                        <a:pt x="0" y="212"/>
                      </a:lnTo>
                      <a:lnTo>
                        <a:pt x="8" y="252"/>
                      </a:lnTo>
                      <a:lnTo>
                        <a:pt x="15" y="273"/>
                      </a:lnTo>
                      <a:lnTo>
                        <a:pt x="39" y="318"/>
                      </a:lnTo>
                      <a:lnTo>
                        <a:pt x="222" y="615"/>
                      </a:lnTo>
                      <a:lnTo>
                        <a:pt x="350" y="820"/>
                      </a:lnTo>
                      <a:lnTo>
                        <a:pt x="1044" y="1914"/>
                      </a:lnTo>
                      <a:lnTo>
                        <a:pt x="1362" y="2416"/>
                      </a:lnTo>
                      <a:lnTo>
                        <a:pt x="1487" y="2614"/>
                      </a:lnTo>
                      <a:lnTo>
                        <a:pt x="1570" y="2745"/>
                      </a:lnTo>
                      <a:lnTo>
                        <a:pt x="1637" y="2850"/>
                      </a:lnTo>
                      <a:lnTo>
                        <a:pt x="4989" y="2850"/>
                      </a:lnTo>
                      <a:lnTo>
                        <a:pt x="6109" y="2850"/>
                      </a:lnTo>
                      <a:lnTo>
                        <a:pt x="7517" y="2848"/>
                      </a:lnTo>
                      <a:lnTo>
                        <a:pt x="8195" y="2841"/>
                      </a:lnTo>
                      <a:lnTo>
                        <a:pt x="8397" y="2831"/>
                      </a:lnTo>
                      <a:lnTo>
                        <a:pt x="8469" y="2822"/>
                      </a:lnTo>
                      <a:lnTo>
                        <a:pt x="8497" y="2816"/>
                      </a:lnTo>
                      <a:lnTo>
                        <a:pt x="8550" y="2805"/>
                      </a:lnTo>
                      <a:lnTo>
                        <a:pt x="8651" y="2776"/>
                      </a:lnTo>
                      <a:lnTo>
                        <a:pt x="8743" y="2741"/>
                      </a:lnTo>
                      <a:lnTo>
                        <a:pt x="8826" y="2699"/>
                      </a:lnTo>
                      <a:lnTo>
                        <a:pt x="8901" y="2651"/>
                      </a:lnTo>
                      <a:lnTo>
                        <a:pt x="8965" y="2597"/>
                      </a:lnTo>
                      <a:lnTo>
                        <a:pt x="9021" y="2537"/>
                      </a:lnTo>
                      <a:lnTo>
                        <a:pt x="9066" y="2473"/>
                      </a:lnTo>
                      <a:lnTo>
                        <a:pt x="9084" y="2438"/>
                      </a:lnTo>
                      <a:lnTo>
                        <a:pt x="9097" y="2407"/>
                      </a:lnTo>
                      <a:lnTo>
                        <a:pt x="9116" y="2330"/>
                      </a:lnTo>
                      <a:lnTo>
                        <a:pt x="9125" y="2238"/>
                      </a:lnTo>
                      <a:lnTo>
                        <a:pt x="9124" y="2135"/>
                      </a:lnTo>
                      <a:lnTo>
                        <a:pt x="9114" y="2026"/>
                      </a:lnTo>
                      <a:lnTo>
                        <a:pt x="9096" y="1915"/>
                      </a:lnTo>
                      <a:lnTo>
                        <a:pt x="9069" y="1805"/>
                      </a:lnTo>
                      <a:lnTo>
                        <a:pt x="9034" y="1701"/>
                      </a:lnTo>
                      <a:lnTo>
                        <a:pt x="9014" y="1653"/>
                      </a:lnTo>
                      <a:lnTo>
                        <a:pt x="8995" y="1613"/>
                      </a:lnTo>
                      <a:lnTo>
                        <a:pt x="8955" y="1540"/>
                      </a:lnTo>
                      <a:lnTo>
                        <a:pt x="8911" y="1474"/>
                      </a:lnTo>
                      <a:lnTo>
                        <a:pt x="8863" y="1414"/>
                      </a:lnTo>
                      <a:lnTo>
                        <a:pt x="8810" y="1362"/>
                      </a:lnTo>
                      <a:lnTo>
                        <a:pt x="8752" y="1315"/>
                      </a:lnTo>
                      <a:lnTo>
                        <a:pt x="8690" y="1276"/>
                      </a:lnTo>
                      <a:lnTo>
                        <a:pt x="8623" y="1242"/>
                      </a:lnTo>
                      <a:lnTo>
                        <a:pt x="8587" y="1228"/>
                      </a:lnTo>
                      <a:lnTo>
                        <a:pt x="8490" y="1191"/>
                      </a:lnTo>
                      <a:lnTo>
                        <a:pt x="5359" y="1186"/>
                      </a:lnTo>
                      <a:lnTo>
                        <a:pt x="3723" y="1184"/>
                      </a:lnTo>
                      <a:lnTo>
                        <a:pt x="2536" y="1176"/>
                      </a:lnTo>
                      <a:lnTo>
                        <a:pt x="2283" y="1170"/>
                      </a:lnTo>
                      <a:lnTo>
                        <a:pt x="2208" y="1164"/>
                      </a:lnTo>
                      <a:lnTo>
                        <a:pt x="2199" y="1161"/>
                      </a:lnTo>
                      <a:lnTo>
                        <a:pt x="2121" y="1094"/>
                      </a:lnTo>
                      <a:lnTo>
                        <a:pt x="1929" y="915"/>
                      </a:lnTo>
                      <a:lnTo>
                        <a:pt x="1636" y="638"/>
                      </a:lnTo>
                      <a:lnTo>
                        <a:pt x="1258" y="286"/>
                      </a:lnTo>
                      <a:lnTo>
                        <a:pt x="1098" y="146"/>
                      </a:lnTo>
                      <a:lnTo>
                        <a:pt x="1025" y="90"/>
                      </a:lnTo>
                      <a:lnTo>
                        <a:pt x="969" y="55"/>
                      </a:lnTo>
                      <a:lnTo>
                        <a:pt x="922" y="33"/>
                      </a:lnTo>
                      <a:lnTo>
                        <a:pt x="897" y="25"/>
                      </a:lnTo>
                      <a:lnTo>
                        <a:pt x="875" y="18"/>
                      </a:lnTo>
                      <a:lnTo>
                        <a:pt x="801" y="9"/>
                      </a:lnTo>
                      <a:lnTo>
                        <a:pt x="642" y="0"/>
                      </a:lnTo>
                      <a:lnTo>
                        <a:pt x="395" y="0"/>
                      </a:lnTo>
                      <a:lnTo>
                        <a:pt x="237" y="9"/>
                      </a:lnTo>
                      <a:lnTo>
                        <a:pt x="162" y="19"/>
                      </a:lnTo>
                      <a:lnTo>
                        <a:pt x="140" y="25"/>
                      </a:lnTo>
                      <a:close/>
                      <a:moveTo>
                        <a:pt x="2735" y="1645"/>
                      </a:moveTo>
                      <a:lnTo>
                        <a:pt x="2744" y="1653"/>
                      </a:lnTo>
                      <a:lnTo>
                        <a:pt x="2756" y="1676"/>
                      </a:lnTo>
                      <a:lnTo>
                        <a:pt x="2765" y="1733"/>
                      </a:lnTo>
                      <a:lnTo>
                        <a:pt x="2765" y="1805"/>
                      </a:lnTo>
                      <a:lnTo>
                        <a:pt x="2765" y="1845"/>
                      </a:lnTo>
                      <a:lnTo>
                        <a:pt x="2762" y="1902"/>
                      </a:lnTo>
                      <a:lnTo>
                        <a:pt x="2754" y="1939"/>
                      </a:lnTo>
                      <a:lnTo>
                        <a:pt x="2740" y="1966"/>
                      </a:lnTo>
                      <a:lnTo>
                        <a:pt x="2729" y="1978"/>
                      </a:lnTo>
                      <a:lnTo>
                        <a:pt x="2717" y="1990"/>
                      </a:lnTo>
                      <a:lnTo>
                        <a:pt x="2693" y="2005"/>
                      </a:lnTo>
                      <a:lnTo>
                        <a:pt x="2660" y="2013"/>
                      </a:lnTo>
                      <a:lnTo>
                        <a:pt x="2608" y="2016"/>
                      </a:lnTo>
                      <a:lnTo>
                        <a:pt x="2570" y="2016"/>
                      </a:lnTo>
                      <a:lnTo>
                        <a:pt x="2532" y="2016"/>
                      </a:lnTo>
                      <a:lnTo>
                        <a:pt x="2479" y="2013"/>
                      </a:lnTo>
                      <a:lnTo>
                        <a:pt x="2445" y="2004"/>
                      </a:lnTo>
                      <a:lnTo>
                        <a:pt x="2420" y="1987"/>
                      </a:lnTo>
                      <a:lnTo>
                        <a:pt x="2407" y="1975"/>
                      </a:lnTo>
                      <a:lnTo>
                        <a:pt x="2394" y="1962"/>
                      </a:lnTo>
                      <a:lnTo>
                        <a:pt x="2377" y="1937"/>
                      </a:lnTo>
                      <a:lnTo>
                        <a:pt x="2369" y="1904"/>
                      </a:lnTo>
                      <a:lnTo>
                        <a:pt x="2365" y="1855"/>
                      </a:lnTo>
                      <a:lnTo>
                        <a:pt x="2365" y="1820"/>
                      </a:lnTo>
                      <a:lnTo>
                        <a:pt x="2366" y="1787"/>
                      </a:lnTo>
                      <a:lnTo>
                        <a:pt x="2369" y="1737"/>
                      </a:lnTo>
                      <a:lnTo>
                        <a:pt x="2377" y="1701"/>
                      </a:lnTo>
                      <a:lnTo>
                        <a:pt x="2390" y="1673"/>
                      </a:lnTo>
                      <a:lnTo>
                        <a:pt x="2400" y="1660"/>
                      </a:lnTo>
                      <a:lnTo>
                        <a:pt x="2412" y="1646"/>
                      </a:lnTo>
                      <a:lnTo>
                        <a:pt x="2434" y="1628"/>
                      </a:lnTo>
                      <a:lnTo>
                        <a:pt x="2468" y="1619"/>
                      </a:lnTo>
                      <a:lnTo>
                        <a:pt x="2525" y="1616"/>
                      </a:lnTo>
                      <a:lnTo>
                        <a:pt x="2569" y="1616"/>
                      </a:lnTo>
                      <a:lnTo>
                        <a:pt x="2638" y="1617"/>
                      </a:lnTo>
                      <a:lnTo>
                        <a:pt x="2700" y="1626"/>
                      </a:lnTo>
                      <a:lnTo>
                        <a:pt x="2726" y="1637"/>
                      </a:lnTo>
                      <a:lnTo>
                        <a:pt x="2735" y="1645"/>
                      </a:lnTo>
                      <a:close/>
                      <a:moveTo>
                        <a:pt x="3484" y="1651"/>
                      </a:moveTo>
                      <a:lnTo>
                        <a:pt x="3495" y="1663"/>
                      </a:lnTo>
                      <a:lnTo>
                        <a:pt x="3509" y="1687"/>
                      </a:lnTo>
                      <a:lnTo>
                        <a:pt x="3515" y="1722"/>
                      </a:lnTo>
                      <a:lnTo>
                        <a:pt x="3514" y="1778"/>
                      </a:lnTo>
                      <a:lnTo>
                        <a:pt x="3512" y="1820"/>
                      </a:lnTo>
                      <a:lnTo>
                        <a:pt x="3509" y="1880"/>
                      </a:lnTo>
                      <a:lnTo>
                        <a:pt x="3497" y="1943"/>
                      </a:lnTo>
                      <a:lnTo>
                        <a:pt x="3483" y="1972"/>
                      </a:lnTo>
                      <a:lnTo>
                        <a:pt x="3461" y="1993"/>
                      </a:lnTo>
                      <a:lnTo>
                        <a:pt x="3432" y="2006"/>
                      </a:lnTo>
                      <a:lnTo>
                        <a:pt x="3371" y="2016"/>
                      </a:lnTo>
                      <a:lnTo>
                        <a:pt x="3312" y="2016"/>
                      </a:lnTo>
                      <a:lnTo>
                        <a:pt x="3277" y="2016"/>
                      </a:lnTo>
                      <a:lnTo>
                        <a:pt x="3228" y="2013"/>
                      </a:lnTo>
                      <a:lnTo>
                        <a:pt x="3195" y="2004"/>
                      </a:lnTo>
                      <a:lnTo>
                        <a:pt x="3170" y="1987"/>
                      </a:lnTo>
                      <a:lnTo>
                        <a:pt x="3157" y="1975"/>
                      </a:lnTo>
                      <a:lnTo>
                        <a:pt x="3144" y="1962"/>
                      </a:lnTo>
                      <a:lnTo>
                        <a:pt x="3127" y="1937"/>
                      </a:lnTo>
                      <a:lnTo>
                        <a:pt x="3119" y="1902"/>
                      </a:lnTo>
                      <a:lnTo>
                        <a:pt x="3115" y="1849"/>
                      </a:lnTo>
                      <a:lnTo>
                        <a:pt x="3115" y="1811"/>
                      </a:lnTo>
                      <a:lnTo>
                        <a:pt x="3116" y="1751"/>
                      </a:lnTo>
                      <a:lnTo>
                        <a:pt x="3126" y="1689"/>
                      </a:lnTo>
                      <a:lnTo>
                        <a:pt x="3139" y="1660"/>
                      </a:lnTo>
                      <a:lnTo>
                        <a:pt x="3160" y="1639"/>
                      </a:lnTo>
                      <a:lnTo>
                        <a:pt x="3190" y="1626"/>
                      </a:lnTo>
                      <a:lnTo>
                        <a:pt x="3254" y="1617"/>
                      </a:lnTo>
                      <a:lnTo>
                        <a:pt x="3315" y="1616"/>
                      </a:lnTo>
                      <a:lnTo>
                        <a:pt x="3355" y="1616"/>
                      </a:lnTo>
                      <a:lnTo>
                        <a:pt x="3411" y="1619"/>
                      </a:lnTo>
                      <a:lnTo>
                        <a:pt x="3448" y="1627"/>
                      </a:lnTo>
                      <a:lnTo>
                        <a:pt x="3473" y="1641"/>
                      </a:lnTo>
                      <a:lnTo>
                        <a:pt x="3484" y="1651"/>
                      </a:lnTo>
                      <a:close/>
                      <a:moveTo>
                        <a:pt x="4225" y="1651"/>
                      </a:moveTo>
                      <a:lnTo>
                        <a:pt x="4234" y="1662"/>
                      </a:lnTo>
                      <a:lnTo>
                        <a:pt x="4247" y="1688"/>
                      </a:lnTo>
                      <a:lnTo>
                        <a:pt x="4254" y="1725"/>
                      </a:lnTo>
                      <a:lnTo>
                        <a:pt x="4257" y="1781"/>
                      </a:lnTo>
                      <a:lnTo>
                        <a:pt x="4257" y="1820"/>
                      </a:lnTo>
                      <a:lnTo>
                        <a:pt x="4256" y="1880"/>
                      </a:lnTo>
                      <a:lnTo>
                        <a:pt x="4246" y="1943"/>
                      </a:lnTo>
                      <a:lnTo>
                        <a:pt x="4233" y="1972"/>
                      </a:lnTo>
                      <a:lnTo>
                        <a:pt x="4212" y="1993"/>
                      </a:lnTo>
                      <a:lnTo>
                        <a:pt x="4182" y="2006"/>
                      </a:lnTo>
                      <a:lnTo>
                        <a:pt x="4118" y="2016"/>
                      </a:lnTo>
                      <a:lnTo>
                        <a:pt x="4057" y="2016"/>
                      </a:lnTo>
                      <a:lnTo>
                        <a:pt x="3997" y="2016"/>
                      </a:lnTo>
                      <a:lnTo>
                        <a:pt x="3935" y="2006"/>
                      </a:lnTo>
                      <a:lnTo>
                        <a:pt x="3905" y="1994"/>
                      </a:lnTo>
                      <a:lnTo>
                        <a:pt x="3883" y="1974"/>
                      </a:lnTo>
                      <a:lnTo>
                        <a:pt x="3868" y="1946"/>
                      </a:lnTo>
                      <a:lnTo>
                        <a:pt x="3856" y="1888"/>
                      </a:lnTo>
                      <a:lnTo>
                        <a:pt x="3852" y="1831"/>
                      </a:lnTo>
                      <a:lnTo>
                        <a:pt x="3850" y="1794"/>
                      </a:lnTo>
                      <a:lnTo>
                        <a:pt x="3851" y="1740"/>
                      </a:lnTo>
                      <a:lnTo>
                        <a:pt x="3857" y="1704"/>
                      </a:lnTo>
                      <a:lnTo>
                        <a:pt x="3871" y="1676"/>
                      </a:lnTo>
                      <a:lnTo>
                        <a:pt x="3882" y="1661"/>
                      </a:lnTo>
                      <a:lnTo>
                        <a:pt x="3894" y="1646"/>
                      </a:lnTo>
                      <a:lnTo>
                        <a:pt x="3917" y="1628"/>
                      </a:lnTo>
                      <a:lnTo>
                        <a:pt x="3951" y="1619"/>
                      </a:lnTo>
                      <a:lnTo>
                        <a:pt x="4010" y="1616"/>
                      </a:lnTo>
                      <a:lnTo>
                        <a:pt x="4055" y="1616"/>
                      </a:lnTo>
                      <a:lnTo>
                        <a:pt x="4097" y="1616"/>
                      </a:lnTo>
                      <a:lnTo>
                        <a:pt x="4156" y="1619"/>
                      </a:lnTo>
                      <a:lnTo>
                        <a:pt x="4192" y="1627"/>
                      </a:lnTo>
                      <a:lnTo>
                        <a:pt x="4215" y="1641"/>
                      </a:lnTo>
                      <a:lnTo>
                        <a:pt x="4225" y="1651"/>
                      </a:lnTo>
                      <a:close/>
                      <a:moveTo>
                        <a:pt x="4964" y="1660"/>
                      </a:moveTo>
                      <a:lnTo>
                        <a:pt x="4974" y="1673"/>
                      </a:lnTo>
                      <a:lnTo>
                        <a:pt x="4987" y="1701"/>
                      </a:lnTo>
                      <a:lnTo>
                        <a:pt x="4995" y="1737"/>
                      </a:lnTo>
                      <a:lnTo>
                        <a:pt x="4998" y="1787"/>
                      </a:lnTo>
                      <a:lnTo>
                        <a:pt x="4999" y="1820"/>
                      </a:lnTo>
                      <a:lnTo>
                        <a:pt x="4999" y="1855"/>
                      </a:lnTo>
                      <a:lnTo>
                        <a:pt x="4995" y="1904"/>
                      </a:lnTo>
                      <a:lnTo>
                        <a:pt x="4987" y="1937"/>
                      </a:lnTo>
                      <a:lnTo>
                        <a:pt x="4970" y="1962"/>
                      </a:lnTo>
                      <a:lnTo>
                        <a:pt x="4957" y="1975"/>
                      </a:lnTo>
                      <a:lnTo>
                        <a:pt x="4944" y="1987"/>
                      </a:lnTo>
                      <a:lnTo>
                        <a:pt x="4919" y="2004"/>
                      </a:lnTo>
                      <a:lnTo>
                        <a:pt x="4884" y="2013"/>
                      </a:lnTo>
                      <a:lnTo>
                        <a:pt x="4829" y="2016"/>
                      </a:lnTo>
                      <a:lnTo>
                        <a:pt x="4790" y="2016"/>
                      </a:lnTo>
                      <a:lnTo>
                        <a:pt x="4754" y="2016"/>
                      </a:lnTo>
                      <a:lnTo>
                        <a:pt x="4702" y="2013"/>
                      </a:lnTo>
                      <a:lnTo>
                        <a:pt x="4667" y="2006"/>
                      </a:lnTo>
                      <a:lnTo>
                        <a:pt x="4643" y="1993"/>
                      </a:lnTo>
                      <a:lnTo>
                        <a:pt x="4634" y="1985"/>
                      </a:lnTo>
                      <a:lnTo>
                        <a:pt x="4623" y="1972"/>
                      </a:lnTo>
                      <a:lnTo>
                        <a:pt x="4605" y="1936"/>
                      </a:lnTo>
                      <a:lnTo>
                        <a:pt x="4593" y="1892"/>
                      </a:lnTo>
                      <a:lnTo>
                        <a:pt x="4586" y="1842"/>
                      </a:lnTo>
                      <a:lnTo>
                        <a:pt x="4585" y="1791"/>
                      </a:lnTo>
                      <a:lnTo>
                        <a:pt x="4590" y="1740"/>
                      </a:lnTo>
                      <a:lnTo>
                        <a:pt x="4600" y="1695"/>
                      </a:lnTo>
                      <a:lnTo>
                        <a:pt x="4617" y="1658"/>
                      </a:lnTo>
                      <a:lnTo>
                        <a:pt x="4627" y="1645"/>
                      </a:lnTo>
                      <a:lnTo>
                        <a:pt x="4635" y="1637"/>
                      </a:lnTo>
                      <a:lnTo>
                        <a:pt x="4659" y="1626"/>
                      </a:lnTo>
                      <a:lnTo>
                        <a:pt x="4719" y="1617"/>
                      </a:lnTo>
                      <a:lnTo>
                        <a:pt x="4792" y="1616"/>
                      </a:lnTo>
                      <a:lnTo>
                        <a:pt x="4836" y="1616"/>
                      </a:lnTo>
                      <a:lnTo>
                        <a:pt x="4895" y="1619"/>
                      </a:lnTo>
                      <a:lnTo>
                        <a:pt x="4930" y="1628"/>
                      </a:lnTo>
                      <a:lnTo>
                        <a:pt x="4952" y="1646"/>
                      </a:lnTo>
                      <a:lnTo>
                        <a:pt x="4964" y="1660"/>
                      </a:lnTo>
                      <a:close/>
                      <a:moveTo>
                        <a:pt x="5699" y="1650"/>
                      </a:moveTo>
                      <a:lnTo>
                        <a:pt x="5708" y="1660"/>
                      </a:lnTo>
                      <a:lnTo>
                        <a:pt x="5721" y="1684"/>
                      </a:lnTo>
                      <a:lnTo>
                        <a:pt x="5729" y="1719"/>
                      </a:lnTo>
                      <a:lnTo>
                        <a:pt x="5732" y="1772"/>
                      </a:lnTo>
                      <a:lnTo>
                        <a:pt x="5732" y="1808"/>
                      </a:lnTo>
                      <a:lnTo>
                        <a:pt x="5732" y="1847"/>
                      </a:lnTo>
                      <a:lnTo>
                        <a:pt x="5729" y="1901"/>
                      </a:lnTo>
                      <a:lnTo>
                        <a:pt x="5720" y="1936"/>
                      </a:lnTo>
                      <a:lnTo>
                        <a:pt x="5703" y="1962"/>
                      </a:lnTo>
                      <a:lnTo>
                        <a:pt x="5690" y="1975"/>
                      </a:lnTo>
                      <a:lnTo>
                        <a:pt x="5678" y="1987"/>
                      </a:lnTo>
                      <a:lnTo>
                        <a:pt x="5653" y="2004"/>
                      </a:lnTo>
                      <a:lnTo>
                        <a:pt x="5620" y="2013"/>
                      </a:lnTo>
                      <a:lnTo>
                        <a:pt x="5570" y="2016"/>
                      </a:lnTo>
                      <a:lnTo>
                        <a:pt x="5535" y="2016"/>
                      </a:lnTo>
                      <a:lnTo>
                        <a:pt x="5503" y="2016"/>
                      </a:lnTo>
                      <a:lnTo>
                        <a:pt x="5453" y="2013"/>
                      </a:lnTo>
                      <a:lnTo>
                        <a:pt x="5417" y="2005"/>
                      </a:lnTo>
                      <a:lnTo>
                        <a:pt x="5388" y="1991"/>
                      </a:lnTo>
                      <a:lnTo>
                        <a:pt x="5375" y="1981"/>
                      </a:lnTo>
                      <a:lnTo>
                        <a:pt x="5361" y="1970"/>
                      </a:lnTo>
                      <a:lnTo>
                        <a:pt x="5344" y="1948"/>
                      </a:lnTo>
                      <a:lnTo>
                        <a:pt x="5335" y="1914"/>
                      </a:lnTo>
                      <a:lnTo>
                        <a:pt x="5332" y="1857"/>
                      </a:lnTo>
                      <a:lnTo>
                        <a:pt x="5332" y="1815"/>
                      </a:lnTo>
                      <a:lnTo>
                        <a:pt x="5333" y="1752"/>
                      </a:lnTo>
                      <a:lnTo>
                        <a:pt x="5342" y="1688"/>
                      </a:lnTo>
                      <a:lnTo>
                        <a:pt x="5354" y="1659"/>
                      </a:lnTo>
                      <a:lnTo>
                        <a:pt x="5375" y="1639"/>
                      </a:lnTo>
                      <a:lnTo>
                        <a:pt x="5405" y="1626"/>
                      </a:lnTo>
                      <a:lnTo>
                        <a:pt x="5469" y="1617"/>
                      </a:lnTo>
                      <a:lnTo>
                        <a:pt x="5532" y="1616"/>
                      </a:lnTo>
                      <a:lnTo>
                        <a:pt x="5571" y="1616"/>
                      </a:lnTo>
                      <a:lnTo>
                        <a:pt x="5627" y="1619"/>
                      </a:lnTo>
                      <a:lnTo>
                        <a:pt x="5663" y="1626"/>
                      </a:lnTo>
                      <a:lnTo>
                        <a:pt x="5688" y="1640"/>
                      </a:lnTo>
                      <a:lnTo>
                        <a:pt x="5699" y="1650"/>
                      </a:lnTo>
                      <a:close/>
                      <a:moveTo>
                        <a:pt x="6444" y="1653"/>
                      </a:moveTo>
                      <a:lnTo>
                        <a:pt x="6455" y="1665"/>
                      </a:lnTo>
                      <a:lnTo>
                        <a:pt x="6471" y="1688"/>
                      </a:lnTo>
                      <a:lnTo>
                        <a:pt x="6479" y="1722"/>
                      </a:lnTo>
                      <a:lnTo>
                        <a:pt x="6482" y="1774"/>
                      </a:lnTo>
                      <a:lnTo>
                        <a:pt x="6482" y="1811"/>
                      </a:lnTo>
                      <a:lnTo>
                        <a:pt x="6482" y="1849"/>
                      </a:lnTo>
                      <a:lnTo>
                        <a:pt x="6479" y="1902"/>
                      </a:lnTo>
                      <a:lnTo>
                        <a:pt x="6470" y="1937"/>
                      </a:lnTo>
                      <a:lnTo>
                        <a:pt x="6453" y="1962"/>
                      </a:lnTo>
                      <a:lnTo>
                        <a:pt x="6440" y="1975"/>
                      </a:lnTo>
                      <a:lnTo>
                        <a:pt x="6428" y="1987"/>
                      </a:lnTo>
                      <a:lnTo>
                        <a:pt x="6403" y="2004"/>
                      </a:lnTo>
                      <a:lnTo>
                        <a:pt x="6370" y="2013"/>
                      </a:lnTo>
                      <a:lnTo>
                        <a:pt x="6320" y="2016"/>
                      </a:lnTo>
                      <a:lnTo>
                        <a:pt x="6285" y="2016"/>
                      </a:lnTo>
                      <a:lnTo>
                        <a:pt x="6253" y="2016"/>
                      </a:lnTo>
                      <a:lnTo>
                        <a:pt x="6203" y="2013"/>
                      </a:lnTo>
                      <a:lnTo>
                        <a:pt x="6167" y="2005"/>
                      </a:lnTo>
                      <a:lnTo>
                        <a:pt x="6138" y="1991"/>
                      </a:lnTo>
                      <a:lnTo>
                        <a:pt x="6125" y="1981"/>
                      </a:lnTo>
                      <a:lnTo>
                        <a:pt x="6111" y="1970"/>
                      </a:lnTo>
                      <a:lnTo>
                        <a:pt x="6094" y="1948"/>
                      </a:lnTo>
                      <a:lnTo>
                        <a:pt x="6085" y="1915"/>
                      </a:lnTo>
                      <a:lnTo>
                        <a:pt x="6082" y="1860"/>
                      </a:lnTo>
                      <a:lnTo>
                        <a:pt x="6082" y="1818"/>
                      </a:lnTo>
                      <a:lnTo>
                        <a:pt x="6082" y="1754"/>
                      </a:lnTo>
                      <a:lnTo>
                        <a:pt x="6090" y="1689"/>
                      </a:lnTo>
                      <a:lnTo>
                        <a:pt x="6102" y="1659"/>
                      </a:lnTo>
                      <a:lnTo>
                        <a:pt x="6121" y="1638"/>
                      </a:lnTo>
                      <a:lnTo>
                        <a:pt x="6149" y="1626"/>
                      </a:lnTo>
                      <a:lnTo>
                        <a:pt x="6209" y="1617"/>
                      </a:lnTo>
                      <a:lnTo>
                        <a:pt x="6269" y="1616"/>
                      </a:lnTo>
                      <a:lnTo>
                        <a:pt x="6310" y="1616"/>
                      </a:lnTo>
                      <a:lnTo>
                        <a:pt x="6367" y="1619"/>
                      </a:lnTo>
                      <a:lnTo>
                        <a:pt x="6405" y="1627"/>
                      </a:lnTo>
                      <a:lnTo>
                        <a:pt x="6431" y="1642"/>
                      </a:lnTo>
                      <a:lnTo>
                        <a:pt x="6444" y="1653"/>
                      </a:lnTo>
                      <a:close/>
                      <a:moveTo>
                        <a:pt x="7182" y="1650"/>
                      </a:moveTo>
                      <a:lnTo>
                        <a:pt x="7192" y="1660"/>
                      </a:lnTo>
                      <a:lnTo>
                        <a:pt x="7205" y="1685"/>
                      </a:lnTo>
                      <a:lnTo>
                        <a:pt x="7212" y="1721"/>
                      </a:lnTo>
                      <a:lnTo>
                        <a:pt x="7215" y="1776"/>
                      </a:lnTo>
                      <a:lnTo>
                        <a:pt x="7215" y="1815"/>
                      </a:lnTo>
                      <a:lnTo>
                        <a:pt x="7215" y="1857"/>
                      </a:lnTo>
                      <a:lnTo>
                        <a:pt x="7212" y="1914"/>
                      </a:lnTo>
                      <a:lnTo>
                        <a:pt x="7204" y="1948"/>
                      </a:lnTo>
                      <a:lnTo>
                        <a:pt x="7186" y="1970"/>
                      </a:lnTo>
                      <a:lnTo>
                        <a:pt x="7172" y="1981"/>
                      </a:lnTo>
                      <a:lnTo>
                        <a:pt x="7159" y="1991"/>
                      </a:lnTo>
                      <a:lnTo>
                        <a:pt x="7130" y="2005"/>
                      </a:lnTo>
                      <a:lnTo>
                        <a:pt x="7094" y="2013"/>
                      </a:lnTo>
                      <a:lnTo>
                        <a:pt x="7045" y="2016"/>
                      </a:lnTo>
                      <a:lnTo>
                        <a:pt x="7012" y="2016"/>
                      </a:lnTo>
                      <a:lnTo>
                        <a:pt x="6977" y="2016"/>
                      </a:lnTo>
                      <a:lnTo>
                        <a:pt x="6928" y="2013"/>
                      </a:lnTo>
                      <a:lnTo>
                        <a:pt x="6895" y="2004"/>
                      </a:lnTo>
                      <a:lnTo>
                        <a:pt x="6870" y="1987"/>
                      </a:lnTo>
                      <a:lnTo>
                        <a:pt x="6857" y="1975"/>
                      </a:lnTo>
                      <a:lnTo>
                        <a:pt x="6844" y="1962"/>
                      </a:lnTo>
                      <a:lnTo>
                        <a:pt x="6827" y="1936"/>
                      </a:lnTo>
                      <a:lnTo>
                        <a:pt x="6819" y="1901"/>
                      </a:lnTo>
                      <a:lnTo>
                        <a:pt x="6815" y="1847"/>
                      </a:lnTo>
                      <a:lnTo>
                        <a:pt x="6815" y="1808"/>
                      </a:lnTo>
                      <a:lnTo>
                        <a:pt x="6816" y="1748"/>
                      </a:lnTo>
                      <a:lnTo>
                        <a:pt x="6825" y="1687"/>
                      </a:lnTo>
                      <a:lnTo>
                        <a:pt x="6838" y="1658"/>
                      </a:lnTo>
                      <a:lnTo>
                        <a:pt x="6859" y="1639"/>
                      </a:lnTo>
                      <a:lnTo>
                        <a:pt x="6889" y="1626"/>
                      </a:lnTo>
                      <a:lnTo>
                        <a:pt x="6953" y="1617"/>
                      </a:lnTo>
                      <a:lnTo>
                        <a:pt x="7015" y="1616"/>
                      </a:lnTo>
                      <a:lnTo>
                        <a:pt x="7055" y="1616"/>
                      </a:lnTo>
                      <a:lnTo>
                        <a:pt x="7110" y="1619"/>
                      </a:lnTo>
                      <a:lnTo>
                        <a:pt x="7147" y="1626"/>
                      </a:lnTo>
                      <a:lnTo>
                        <a:pt x="7171" y="1640"/>
                      </a:lnTo>
                      <a:lnTo>
                        <a:pt x="7182" y="1650"/>
                      </a:lnTo>
                      <a:close/>
                      <a:moveTo>
                        <a:pt x="7932" y="1653"/>
                      </a:moveTo>
                      <a:lnTo>
                        <a:pt x="7941" y="1664"/>
                      </a:lnTo>
                      <a:lnTo>
                        <a:pt x="7954" y="1690"/>
                      </a:lnTo>
                      <a:lnTo>
                        <a:pt x="7962" y="1725"/>
                      </a:lnTo>
                      <a:lnTo>
                        <a:pt x="7965" y="1776"/>
                      </a:lnTo>
                      <a:lnTo>
                        <a:pt x="7965" y="1811"/>
                      </a:lnTo>
                      <a:lnTo>
                        <a:pt x="7965" y="1849"/>
                      </a:lnTo>
                      <a:lnTo>
                        <a:pt x="7962" y="1902"/>
                      </a:lnTo>
                      <a:lnTo>
                        <a:pt x="7953" y="1937"/>
                      </a:lnTo>
                      <a:lnTo>
                        <a:pt x="7936" y="1962"/>
                      </a:lnTo>
                      <a:lnTo>
                        <a:pt x="7924" y="1975"/>
                      </a:lnTo>
                      <a:lnTo>
                        <a:pt x="7911" y="1987"/>
                      </a:lnTo>
                      <a:lnTo>
                        <a:pt x="7886" y="2004"/>
                      </a:lnTo>
                      <a:lnTo>
                        <a:pt x="7853" y="2013"/>
                      </a:lnTo>
                      <a:lnTo>
                        <a:pt x="7804" y="2016"/>
                      </a:lnTo>
                      <a:lnTo>
                        <a:pt x="7769" y="2016"/>
                      </a:lnTo>
                      <a:lnTo>
                        <a:pt x="7736" y="2016"/>
                      </a:lnTo>
                      <a:lnTo>
                        <a:pt x="7686" y="2013"/>
                      </a:lnTo>
                      <a:lnTo>
                        <a:pt x="7650" y="2005"/>
                      </a:lnTo>
                      <a:lnTo>
                        <a:pt x="7622" y="1991"/>
                      </a:lnTo>
                      <a:lnTo>
                        <a:pt x="7609" y="1981"/>
                      </a:lnTo>
                      <a:lnTo>
                        <a:pt x="7595" y="1970"/>
                      </a:lnTo>
                      <a:lnTo>
                        <a:pt x="7577" y="1948"/>
                      </a:lnTo>
                      <a:lnTo>
                        <a:pt x="7568" y="1914"/>
                      </a:lnTo>
                      <a:lnTo>
                        <a:pt x="7565" y="1857"/>
                      </a:lnTo>
                      <a:lnTo>
                        <a:pt x="7565" y="1815"/>
                      </a:lnTo>
                      <a:lnTo>
                        <a:pt x="7566" y="1752"/>
                      </a:lnTo>
                      <a:lnTo>
                        <a:pt x="7575" y="1688"/>
                      </a:lnTo>
                      <a:lnTo>
                        <a:pt x="7588" y="1659"/>
                      </a:lnTo>
                      <a:lnTo>
                        <a:pt x="7608" y="1639"/>
                      </a:lnTo>
                      <a:lnTo>
                        <a:pt x="7638" y="1626"/>
                      </a:lnTo>
                      <a:lnTo>
                        <a:pt x="7702" y="1617"/>
                      </a:lnTo>
                      <a:lnTo>
                        <a:pt x="7765" y="1616"/>
                      </a:lnTo>
                      <a:lnTo>
                        <a:pt x="7806" y="1616"/>
                      </a:lnTo>
                      <a:lnTo>
                        <a:pt x="7862" y="1619"/>
                      </a:lnTo>
                      <a:lnTo>
                        <a:pt x="7897" y="1627"/>
                      </a:lnTo>
                      <a:lnTo>
                        <a:pt x="7921" y="1642"/>
                      </a:lnTo>
                      <a:lnTo>
                        <a:pt x="7932" y="1653"/>
                      </a:lnTo>
                      <a:close/>
                      <a:moveTo>
                        <a:pt x="8672" y="1653"/>
                      </a:moveTo>
                      <a:lnTo>
                        <a:pt x="8679" y="1664"/>
                      </a:lnTo>
                      <a:lnTo>
                        <a:pt x="8689" y="1693"/>
                      </a:lnTo>
                      <a:lnTo>
                        <a:pt x="8698" y="1757"/>
                      </a:lnTo>
                      <a:lnTo>
                        <a:pt x="8699" y="1818"/>
                      </a:lnTo>
                      <a:lnTo>
                        <a:pt x="8699" y="1860"/>
                      </a:lnTo>
                      <a:lnTo>
                        <a:pt x="8696" y="1915"/>
                      </a:lnTo>
                      <a:lnTo>
                        <a:pt x="8687" y="1948"/>
                      </a:lnTo>
                      <a:lnTo>
                        <a:pt x="8669" y="1970"/>
                      </a:lnTo>
                      <a:lnTo>
                        <a:pt x="8655" y="1981"/>
                      </a:lnTo>
                      <a:lnTo>
                        <a:pt x="8642" y="1991"/>
                      </a:lnTo>
                      <a:lnTo>
                        <a:pt x="8614" y="2005"/>
                      </a:lnTo>
                      <a:lnTo>
                        <a:pt x="8578" y="2013"/>
                      </a:lnTo>
                      <a:lnTo>
                        <a:pt x="8528" y="2016"/>
                      </a:lnTo>
                      <a:lnTo>
                        <a:pt x="8495" y="2016"/>
                      </a:lnTo>
                      <a:lnTo>
                        <a:pt x="8460" y="2016"/>
                      </a:lnTo>
                      <a:lnTo>
                        <a:pt x="8411" y="2013"/>
                      </a:lnTo>
                      <a:lnTo>
                        <a:pt x="8378" y="2004"/>
                      </a:lnTo>
                      <a:lnTo>
                        <a:pt x="8353" y="1987"/>
                      </a:lnTo>
                      <a:lnTo>
                        <a:pt x="8340" y="1975"/>
                      </a:lnTo>
                      <a:lnTo>
                        <a:pt x="8328" y="1962"/>
                      </a:lnTo>
                      <a:lnTo>
                        <a:pt x="8311" y="1937"/>
                      </a:lnTo>
                      <a:lnTo>
                        <a:pt x="8302" y="1902"/>
                      </a:lnTo>
                      <a:lnTo>
                        <a:pt x="8299" y="1849"/>
                      </a:lnTo>
                      <a:lnTo>
                        <a:pt x="8299" y="1811"/>
                      </a:lnTo>
                      <a:lnTo>
                        <a:pt x="8299" y="1751"/>
                      </a:lnTo>
                      <a:lnTo>
                        <a:pt x="8309" y="1688"/>
                      </a:lnTo>
                      <a:lnTo>
                        <a:pt x="8323" y="1659"/>
                      </a:lnTo>
                      <a:lnTo>
                        <a:pt x="8344" y="1639"/>
                      </a:lnTo>
                      <a:lnTo>
                        <a:pt x="8375" y="1626"/>
                      </a:lnTo>
                      <a:lnTo>
                        <a:pt x="8442" y="1617"/>
                      </a:lnTo>
                      <a:lnTo>
                        <a:pt x="8507" y="1616"/>
                      </a:lnTo>
                      <a:lnTo>
                        <a:pt x="8550" y="1616"/>
                      </a:lnTo>
                      <a:lnTo>
                        <a:pt x="8609" y="1619"/>
                      </a:lnTo>
                      <a:lnTo>
                        <a:pt x="8643" y="1626"/>
                      </a:lnTo>
                      <a:lnTo>
                        <a:pt x="8663" y="1641"/>
                      </a:lnTo>
                      <a:lnTo>
                        <a:pt x="8672" y="1653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34"/>
                <p:cNvSpPr>
                  <a:spLocks/>
                </p:cNvSpPr>
                <p:nvPr/>
              </p:nvSpPr>
              <p:spPr bwMode="auto">
                <a:xfrm>
                  <a:off x="3460" y="2516"/>
                  <a:ext cx="1096" cy="734"/>
                </a:xfrm>
                <a:custGeom>
                  <a:avLst/>
                  <a:gdLst>
                    <a:gd name="T0" fmla="*/ 1047 w 2707"/>
                    <a:gd name="T1" fmla="*/ 28 h 1816"/>
                    <a:gd name="T2" fmla="*/ 1011 w 2707"/>
                    <a:gd name="T3" fmla="*/ 82 h 1816"/>
                    <a:gd name="T4" fmla="*/ 754 w 2707"/>
                    <a:gd name="T5" fmla="*/ 518 h 1816"/>
                    <a:gd name="T6" fmla="*/ 542 w 2707"/>
                    <a:gd name="T7" fmla="*/ 883 h 1816"/>
                    <a:gd name="T8" fmla="*/ 364 w 2707"/>
                    <a:gd name="T9" fmla="*/ 1189 h 1816"/>
                    <a:gd name="T10" fmla="*/ 152 w 2707"/>
                    <a:gd name="T11" fmla="*/ 1550 h 1816"/>
                    <a:gd name="T12" fmla="*/ 0 w 2707"/>
                    <a:gd name="T13" fmla="*/ 1808 h 1816"/>
                    <a:gd name="T14" fmla="*/ 393 w 2707"/>
                    <a:gd name="T15" fmla="*/ 1813 h 1816"/>
                    <a:gd name="T16" fmla="*/ 787 w 2707"/>
                    <a:gd name="T17" fmla="*/ 1816 h 1816"/>
                    <a:gd name="T18" fmla="*/ 897 w 2707"/>
                    <a:gd name="T19" fmla="*/ 1710 h 1816"/>
                    <a:gd name="T20" fmla="*/ 999 w 2707"/>
                    <a:gd name="T21" fmla="*/ 1613 h 1816"/>
                    <a:gd name="T22" fmla="*/ 1078 w 2707"/>
                    <a:gd name="T23" fmla="*/ 1540 h 1816"/>
                    <a:gd name="T24" fmla="*/ 1799 w 2707"/>
                    <a:gd name="T25" fmla="*/ 873 h 1816"/>
                    <a:gd name="T26" fmla="*/ 2475 w 2707"/>
                    <a:gd name="T27" fmla="*/ 241 h 1816"/>
                    <a:gd name="T28" fmla="*/ 2690 w 2707"/>
                    <a:gd name="T29" fmla="*/ 34 h 1816"/>
                    <a:gd name="T30" fmla="*/ 2707 w 2707"/>
                    <a:gd name="T31" fmla="*/ 13 h 1816"/>
                    <a:gd name="T32" fmla="*/ 2693 w 2707"/>
                    <a:gd name="T33" fmla="*/ 10 h 1816"/>
                    <a:gd name="T34" fmla="*/ 2566 w 2707"/>
                    <a:gd name="T35" fmla="*/ 5 h 1816"/>
                    <a:gd name="T36" fmla="*/ 2210 w 2707"/>
                    <a:gd name="T37" fmla="*/ 0 h 1816"/>
                    <a:gd name="T38" fmla="*/ 1885 w 2707"/>
                    <a:gd name="T39" fmla="*/ 0 h 1816"/>
                    <a:gd name="T40" fmla="*/ 1406 w 2707"/>
                    <a:gd name="T41" fmla="*/ 0 h 1816"/>
                    <a:gd name="T42" fmla="*/ 1119 w 2707"/>
                    <a:gd name="T43" fmla="*/ 7 h 1816"/>
                    <a:gd name="T44" fmla="*/ 1068 w 2707"/>
                    <a:gd name="T45" fmla="*/ 15 h 1816"/>
                    <a:gd name="T46" fmla="*/ 1051 w 2707"/>
                    <a:gd name="T47" fmla="*/ 23 h 1816"/>
                    <a:gd name="T48" fmla="*/ 1047 w 2707"/>
                    <a:gd name="T49" fmla="*/ 28 h 18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707" h="1816">
                      <a:moveTo>
                        <a:pt x="1047" y="28"/>
                      </a:moveTo>
                      <a:lnTo>
                        <a:pt x="1011" y="82"/>
                      </a:lnTo>
                      <a:lnTo>
                        <a:pt x="754" y="518"/>
                      </a:lnTo>
                      <a:lnTo>
                        <a:pt x="542" y="883"/>
                      </a:lnTo>
                      <a:lnTo>
                        <a:pt x="364" y="1189"/>
                      </a:lnTo>
                      <a:lnTo>
                        <a:pt x="152" y="1550"/>
                      </a:lnTo>
                      <a:lnTo>
                        <a:pt x="0" y="1808"/>
                      </a:lnTo>
                      <a:lnTo>
                        <a:pt x="393" y="1813"/>
                      </a:lnTo>
                      <a:lnTo>
                        <a:pt x="787" y="1816"/>
                      </a:lnTo>
                      <a:lnTo>
                        <a:pt x="897" y="1710"/>
                      </a:lnTo>
                      <a:lnTo>
                        <a:pt x="999" y="1613"/>
                      </a:lnTo>
                      <a:lnTo>
                        <a:pt x="1078" y="1540"/>
                      </a:lnTo>
                      <a:lnTo>
                        <a:pt x="1799" y="873"/>
                      </a:lnTo>
                      <a:lnTo>
                        <a:pt x="2475" y="241"/>
                      </a:lnTo>
                      <a:lnTo>
                        <a:pt x="2690" y="34"/>
                      </a:lnTo>
                      <a:lnTo>
                        <a:pt x="2707" y="13"/>
                      </a:lnTo>
                      <a:lnTo>
                        <a:pt x="2693" y="10"/>
                      </a:lnTo>
                      <a:lnTo>
                        <a:pt x="2566" y="5"/>
                      </a:lnTo>
                      <a:lnTo>
                        <a:pt x="2210" y="0"/>
                      </a:lnTo>
                      <a:lnTo>
                        <a:pt x="1885" y="0"/>
                      </a:lnTo>
                      <a:lnTo>
                        <a:pt x="1406" y="0"/>
                      </a:lnTo>
                      <a:lnTo>
                        <a:pt x="1119" y="7"/>
                      </a:lnTo>
                      <a:lnTo>
                        <a:pt x="1068" y="15"/>
                      </a:lnTo>
                      <a:lnTo>
                        <a:pt x="1051" y="23"/>
                      </a:lnTo>
                      <a:lnTo>
                        <a:pt x="1047" y="28"/>
                      </a:lnTo>
                      <a:close/>
                    </a:path>
                  </a:pathLst>
                </a:custGeom>
                <a:solidFill>
                  <a:srgbClr val="B516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tr-TR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72" name="Picture 7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9278" y="4611692"/>
                <a:ext cx="1419966" cy="1250679"/>
              </a:xfrm>
              <a:prstGeom prst="rect">
                <a:avLst/>
              </a:prstGeom>
            </p:spPr>
          </p:pic>
          <p:pic>
            <p:nvPicPr>
              <p:cNvPr id="78" name="Picture 77"/>
              <p:cNvPicPr>
                <a:picLocks noChangeAspect="1"/>
              </p:cNvPicPr>
              <p:nvPr/>
            </p:nvPicPr>
            <p:blipFill>
              <a:blip r:embed="rId4" cstate="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55763" y="3907915"/>
                <a:ext cx="1015939" cy="1015939"/>
              </a:xfrm>
              <a:prstGeom prst="rect">
                <a:avLst/>
              </a:prstGeom>
            </p:spPr>
          </p:pic>
        </p:grpSp>
        <p:grpSp>
          <p:nvGrpSpPr>
            <p:cNvPr id="3" name="Group 4"/>
            <p:cNvGrpSpPr>
              <a:grpSpLocks noChangeAspect="1"/>
            </p:cNvGrpSpPr>
            <p:nvPr/>
          </p:nvGrpSpPr>
          <p:grpSpPr bwMode="auto">
            <a:xfrm flipH="1">
              <a:off x="7601654" y="3952766"/>
              <a:ext cx="1238618" cy="549715"/>
              <a:chOff x="0" y="456"/>
              <a:chExt cx="6336" cy="2812"/>
            </a:xfrm>
          </p:grpSpPr>
          <p:sp>
            <p:nvSpPr>
              <p:cNvPr id="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0" y="456"/>
                <a:ext cx="6336" cy="28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" name="Freeform 5"/>
              <p:cNvSpPr>
                <a:spLocks/>
              </p:cNvSpPr>
              <p:nvPr/>
            </p:nvSpPr>
            <p:spPr bwMode="auto">
              <a:xfrm>
                <a:off x="1718" y="750"/>
                <a:ext cx="488" cy="610"/>
              </a:xfrm>
              <a:custGeom>
                <a:avLst/>
                <a:gdLst>
                  <a:gd name="T0" fmla="*/ 580 w 1106"/>
                  <a:gd name="T1" fmla="*/ 16 h 1383"/>
                  <a:gd name="T2" fmla="*/ 543 w 1106"/>
                  <a:gd name="T3" fmla="*/ 20 h 1383"/>
                  <a:gd name="T4" fmla="*/ 470 w 1106"/>
                  <a:gd name="T5" fmla="*/ 35 h 1383"/>
                  <a:gd name="T6" fmla="*/ 401 w 1106"/>
                  <a:gd name="T7" fmla="*/ 57 h 1383"/>
                  <a:gd name="T8" fmla="*/ 335 w 1106"/>
                  <a:gd name="T9" fmla="*/ 87 h 1383"/>
                  <a:gd name="T10" fmla="*/ 275 w 1106"/>
                  <a:gd name="T11" fmla="*/ 122 h 1383"/>
                  <a:gd name="T12" fmla="*/ 220 w 1106"/>
                  <a:gd name="T13" fmla="*/ 164 h 1383"/>
                  <a:gd name="T14" fmla="*/ 171 w 1106"/>
                  <a:gd name="T15" fmla="*/ 211 h 1383"/>
                  <a:gd name="T16" fmla="*/ 129 w 1106"/>
                  <a:gd name="T17" fmla="*/ 263 h 1383"/>
                  <a:gd name="T18" fmla="*/ 112 w 1106"/>
                  <a:gd name="T19" fmla="*/ 291 h 1383"/>
                  <a:gd name="T20" fmla="*/ 99 w 1106"/>
                  <a:gd name="T21" fmla="*/ 314 h 1383"/>
                  <a:gd name="T22" fmla="*/ 78 w 1106"/>
                  <a:gd name="T23" fmla="*/ 362 h 1383"/>
                  <a:gd name="T24" fmla="*/ 60 w 1106"/>
                  <a:gd name="T25" fmla="*/ 418 h 1383"/>
                  <a:gd name="T26" fmla="*/ 46 w 1106"/>
                  <a:gd name="T27" fmla="*/ 484 h 1383"/>
                  <a:gd name="T28" fmla="*/ 29 w 1106"/>
                  <a:gd name="T29" fmla="*/ 606 h 1383"/>
                  <a:gd name="T30" fmla="*/ 15 w 1106"/>
                  <a:gd name="T31" fmla="*/ 834 h 1383"/>
                  <a:gd name="T32" fmla="*/ 10 w 1106"/>
                  <a:gd name="T33" fmla="*/ 986 h 1383"/>
                  <a:gd name="T34" fmla="*/ 0 w 1106"/>
                  <a:gd name="T35" fmla="*/ 1383 h 1383"/>
                  <a:gd name="T36" fmla="*/ 167 w 1106"/>
                  <a:gd name="T37" fmla="*/ 1383 h 1383"/>
                  <a:gd name="T38" fmla="*/ 335 w 1106"/>
                  <a:gd name="T39" fmla="*/ 1383 h 1383"/>
                  <a:gd name="T40" fmla="*/ 342 w 1106"/>
                  <a:gd name="T41" fmla="*/ 941 h 1383"/>
                  <a:gd name="T42" fmla="*/ 348 w 1106"/>
                  <a:gd name="T43" fmla="*/ 500 h 1383"/>
                  <a:gd name="T44" fmla="*/ 417 w 1106"/>
                  <a:gd name="T45" fmla="*/ 431 h 1383"/>
                  <a:gd name="T46" fmla="*/ 432 w 1106"/>
                  <a:gd name="T47" fmla="*/ 416 h 1383"/>
                  <a:gd name="T48" fmla="*/ 461 w 1106"/>
                  <a:gd name="T49" fmla="*/ 391 h 1383"/>
                  <a:gd name="T50" fmla="*/ 493 w 1106"/>
                  <a:gd name="T51" fmla="*/ 372 h 1383"/>
                  <a:gd name="T52" fmla="*/ 529 w 1106"/>
                  <a:gd name="T53" fmla="*/ 357 h 1383"/>
                  <a:gd name="T54" fmla="*/ 597 w 1106"/>
                  <a:gd name="T55" fmla="*/ 342 h 1383"/>
                  <a:gd name="T56" fmla="*/ 733 w 1106"/>
                  <a:gd name="T57" fmla="*/ 334 h 1383"/>
                  <a:gd name="T58" fmla="*/ 830 w 1106"/>
                  <a:gd name="T59" fmla="*/ 333 h 1383"/>
                  <a:gd name="T60" fmla="*/ 930 w 1106"/>
                  <a:gd name="T61" fmla="*/ 333 h 1383"/>
                  <a:gd name="T62" fmla="*/ 1024 w 1106"/>
                  <a:gd name="T63" fmla="*/ 329 h 1383"/>
                  <a:gd name="T64" fmla="*/ 1064 w 1106"/>
                  <a:gd name="T65" fmla="*/ 321 h 1383"/>
                  <a:gd name="T66" fmla="*/ 1088 w 1106"/>
                  <a:gd name="T67" fmla="*/ 306 h 1383"/>
                  <a:gd name="T68" fmla="*/ 1100 w 1106"/>
                  <a:gd name="T69" fmla="*/ 280 h 1383"/>
                  <a:gd name="T70" fmla="*/ 1106 w 1106"/>
                  <a:gd name="T71" fmla="*/ 220 h 1383"/>
                  <a:gd name="T72" fmla="*/ 1105 w 1106"/>
                  <a:gd name="T73" fmla="*/ 156 h 1383"/>
                  <a:gd name="T74" fmla="*/ 1105 w 1106"/>
                  <a:gd name="T75" fmla="*/ 0 h 1383"/>
                  <a:gd name="T76" fmla="*/ 902 w 1106"/>
                  <a:gd name="T77" fmla="*/ 1 h 1383"/>
                  <a:gd name="T78" fmla="*/ 813 w 1106"/>
                  <a:gd name="T79" fmla="*/ 3 h 1383"/>
                  <a:gd name="T80" fmla="*/ 639 w 1106"/>
                  <a:gd name="T81" fmla="*/ 11 h 1383"/>
                  <a:gd name="T82" fmla="*/ 580 w 1106"/>
                  <a:gd name="T83" fmla="*/ 16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106" h="1383">
                    <a:moveTo>
                      <a:pt x="580" y="16"/>
                    </a:moveTo>
                    <a:lnTo>
                      <a:pt x="543" y="20"/>
                    </a:lnTo>
                    <a:lnTo>
                      <a:pt x="470" y="35"/>
                    </a:lnTo>
                    <a:lnTo>
                      <a:pt x="401" y="57"/>
                    </a:lnTo>
                    <a:lnTo>
                      <a:pt x="335" y="87"/>
                    </a:lnTo>
                    <a:lnTo>
                      <a:pt x="275" y="122"/>
                    </a:lnTo>
                    <a:lnTo>
                      <a:pt x="220" y="164"/>
                    </a:lnTo>
                    <a:lnTo>
                      <a:pt x="171" y="211"/>
                    </a:lnTo>
                    <a:lnTo>
                      <a:pt x="129" y="263"/>
                    </a:lnTo>
                    <a:lnTo>
                      <a:pt x="112" y="291"/>
                    </a:lnTo>
                    <a:lnTo>
                      <a:pt x="99" y="314"/>
                    </a:lnTo>
                    <a:lnTo>
                      <a:pt x="78" y="362"/>
                    </a:lnTo>
                    <a:lnTo>
                      <a:pt x="60" y="418"/>
                    </a:lnTo>
                    <a:lnTo>
                      <a:pt x="46" y="484"/>
                    </a:lnTo>
                    <a:lnTo>
                      <a:pt x="29" y="606"/>
                    </a:lnTo>
                    <a:lnTo>
                      <a:pt x="15" y="834"/>
                    </a:lnTo>
                    <a:lnTo>
                      <a:pt x="10" y="986"/>
                    </a:lnTo>
                    <a:lnTo>
                      <a:pt x="0" y="1383"/>
                    </a:lnTo>
                    <a:lnTo>
                      <a:pt x="167" y="1383"/>
                    </a:lnTo>
                    <a:lnTo>
                      <a:pt x="335" y="1383"/>
                    </a:lnTo>
                    <a:lnTo>
                      <a:pt x="342" y="941"/>
                    </a:lnTo>
                    <a:lnTo>
                      <a:pt x="348" y="500"/>
                    </a:lnTo>
                    <a:lnTo>
                      <a:pt x="417" y="431"/>
                    </a:lnTo>
                    <a:lnTo>
                      <a:pt x="432" y="416"/>
                    </a:lnTo>
                    <a:lnTo>
                      <a:pt x="461" y="391"/>
                    </a:lnTo>
                    <a:lnTo>
                      <a:pt x="493" y="372"/>
                    </a:lnTo>
                    <a:lnTo>
                      <a:pt x="529" y="357"/>
                    </a:lnTo>
                    <a:lnTo>
                      <a:pt x="597" y="342"/>
                    </a:lnTo>
                    <a:lnTo>
                      <a:pt x="733" y="334"/>
                    </a:lnTo>
                    <a:lnTo>
                      <a:pt x="830" y="333"/>
                    </a:lnTo>
                    <a:lnTo>
                      <a:pt x="930" y="333"/>
                    </a:lnTo>
                    <a:lnTo>
                      <a:pt x="1024" y="329"/>
                    </a:lnTo>
                    <a:lnTo>
                      <a:pt x="1064" y="321"/>
                    </a:lnTo>
                    <a:lnTo>
                      <a:pt x="1088" y="306"/>
                    </a:lnTo>
                    <a:lnTo>
                      <a:pt x="1100" y="280"/>
                    </a:lnTo>
                    <a:lnTo>
                      <a:pt x="1106" y="220"/>
                    </a:lnTo>
                    <a:lnTo>
                      <a:pt x="1105" y="156"/>
                    </a:lnTo>
                    <a:lnTo>
                      <a:pt x="1105" y="0"/>
                    </a:lnTo>
                    <a:lnTo>
                      <a:pt x="902" y="1"/>
                    </a:lnTo>
                    <a:lnTo>
                      <a:pt x="813" y="3"/>
                    </a:lnTo>
                    <a:lnTo>
                      <a:pt x="639" y="11"/>
                    </a:lnTo>
                    <a:lnTo>
                      <a:pt x="580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" name="Freeform 6"/>
              <p:cNvSpPr>
                <a:spLocks noEditPoints="1"/>
              </p:cNvSpPr>
              <p:nvPr/>
            </p:nvSpPr>
            <p:spPr bwMode="auto">
              <a:xfrm>
                <a:off x="2400" y="1027"/>
                <a:ext cx="3692" cy="1272"/>
              </a:xfrm>
              <a:custGeom>
                <a:avLst/>
                <a:gdLst>
                  <a:gd name="T0" fmla="*/ 224 w 8367"/>
                  <a:gd name="T1" fmla="*/ 20 h 2884"/>
                  <a:gd name="T2" fmla="*/ 22 w 8367"/>
                  <a:gd name="T3" fmla="*/ 35 h 2884"/>
                  <a:gd name="T4" fmla="*/ 8 w 8367"/>
                  <a:gd name="T5" fmla="*/ 296 h 2884"/>
                  <a:gd name="T6" fmla="*/ 8 w 8367"/>
                  <a:gd name="T7" fmla="*/ 2580 h 2884"/>
                  <a:gd name="T8" fmla="*/ 22 w 8367"/>
                  <a:gd name="T9" fmla="*/ 2842 h 2884"/>
                  <a:gd name="T10" fmla="*/ 167 w 8367"/>
                  <a:gd name="T11" fmla="*/ 2857 h 2884"/>
                  <a:gd name="T12" fmla="*/ 1886 w 8367"/>
                  <a:gd name="T13" fmla="*/ 2881 h 2884"/>
                  <a:gd name="T14" fmla="*/ 7615 w 8367"/>
                  <a:gd name="T15" fmla="*/ 2871 h 2884"/>
                  <a:gd name="T16" fmla="*/ 8256 w 8367"/>
                  <a:gd name="T17" fmla="*/ 2858 h 2884"/>
                  <a:gd name="T18" fmla="*/ 8351 w 8367"/>
                  <a:gd name="T19" fmla="*/ 2821 h 2884"/>
                  <a:gd name="T20" fmla="*/ 8367 w 8367"/>
                  <a:gd name="T21" fmla="*/ 1959 h 2884"/>
                  <a:gd name="T22" fmla="*/ 8360 w 8367"/>
                  <a:gd name="T23" fmla="*/ 163 h 2884"/>
                  <a:gd name="T24" fmla="*/ 8341 w 8367"/>
                  <a:gd name="T25" fmla="*/ 47 h 2884"/>
                  <a:gd name="T26" fmla="*/ 8254 w 8367"/>
                  <a:gd name="T27" fmla="*/ 26 h 2884"/>
                  <a:gd name="T28" fmla="*/ 6146 w 8367"/>
                  <a:gd name="T29" fmla="*/ 3 h 2884"/>
                  <a:gd name="T30" fmla="*/ 759 w 8367"/>
                  <a:gd name="T31" fmla="*/ 1455 h 2884"/>
                  <a:gd name="T32" fmla="*/ 609 w 8367"/>
                  <a:gd name="T33" fmla="*/ 2388 h 2884"/>
                  <a:gd name="T34" fmla="*/ 684 w 8367"/>
                  <a:gd name="T35" fmla="*/ 522 h 2884"/>
                  <a:gd name="T36" fmla="*/ 1542 w 8367"/>
                  <a:gd name="T37" fmla="*/ 1455 h 2884"/>
                  <a:gd name="T38" fmla="*/ 1376 w 8367"/>
                  <a:gd name="T39" fmla="*/ 2388 h 2884"/>
                  <a:gd name="T40" fmla="*/ 1459 w 8367"/>
                  <a:gd name="T41" fmla="*/ 522 h 2884"/>
                  <a:gd name="T42" fmla="*/ 2309 w 8367"/>
                  <a:gd name="T43" fmla="*/ 1455 h 2884"/>
                  <a:gd name="T44" fmla="*/ 2176 w 8367"/>
                  <a:gd name="T45" fmla="*/ 2388 h 2884"/>
                  <a:gd name="T46" fmla="*/ 2242 w 8367"/>
                  <a:gd name="T47" fmla="*/ 522 h 2884"/>
                  <a:gd name="T48" fmla="*/ 3092 w 8367"/>
                  <a:gd name="T49" fmla="*/ 1455 h 2884"/>
                  <a:gd name="T50" fmla="*/ 2926 w 8367"/>
                  <a:gd name="T51" fmla="*/ 2388 h 2884"/>
                  <a:gd name="T52" fmla="*/ 3009 w 8367"/>
                  <a:gd name="T53" fmla="*/ 522 h 2884"/>
                  <a:gd name="T54" fmla="*/ 3876 w 8367"/>
                  <a:gd name="T55" fmla="*/ 1455 h 2884"/>
                  <a:gd name="T56" fmla="*/ 3726 w 8367"/>
                  <a:gd name="T57" fmla="*/ 2388 h 2884"/>
                  <a:gd name="T58" fmla="*/ 3801 w 8367"/>
                  <a:gd name="T59" fmla="*/ 522 h 2884"/>
                  <a:gd name="T60" fmla="*/ 4642 w 8367"/>
                  <a:gd name="T61" fmla="*/ 1455 h 2884"/>
                  <a:gd name="T62" fmla="*/ 4476 w 8367"/>
                  <a:gd name="T63" fmla="*/ 2388 h 2884"/>
                  <a:gd name="T64" fmla="*/ 4559 w 8367"/>
                  <a:gd name="T65" fmla="*/ 522 h 2884"/>
                  <a:gd name="T66" fmla="*/ 5409 w 8367"/>
                  <a:gd name="T67" fmla="*/ 1455 h 2884"/>
                  <a:gd name="T68" fmla="*/ 5276 w 8367"/>
                  <a:gd name="T69" fmla="*/ 2388 h 2884"/>
                  <a:gd name="T70" fmla="*/ 5342 w 8367"/>
                  <a:gd name="T71" fmla="*/ 522 h 2884"/>
                  <a:gd name="T72" fmla="*/ 6192 w 8367"/>
                  <a:gd name="T73" fmla="*/ 1455 h 2884"/>
                  <a:gd name="T74" fmla="*/ 6042 w 8367"/>
                  <a:gd name="T75" fmla="*/ 2388 h 2884"/>
                  <a:gd name="T76" fmla="*/ 6117 w 8367"/>
                  <a:gd name="T77" fmla="*/ 522 h 2884"/>
                  <a:gd name="T78" fmla="*/ 6959 w 8367"/>
                  <a:gd name="T79" fmla="*/ 1455 h 2884"/>
                  <a:gd name="T80" fmla="*/ 6826 w 8367"/>
                  <a:gd name="T81" fmla="*/ 2388 h 2884"/>
                  <a:gd name="T82" fmla="*/ 6892 w 8367"/>
                  <a:gd name="T83" fmla="*/ 522 h 2884"/>
                  <a:gd name="T84" fmla="*/ 7756 w 8367"/>
                  <a:gd name="T85" fmla="*/ 1458 h 2884"/>
                  <a:gd name="T86" fmla="*/ 7592 w 8367"/>
                  <a:gd name="T87" fmla="*/ 2388 h 2884"/>
                  <a:gd name="T88" fmla="*/ 7672 w 8367"/>
                  <a:gd name="T89" fmla="*/ 525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367" h="2884">
                    <a:moveTo>
                      <a:pt x="1939" y="5"/>
                    </a:moveTo>
                    <a:lnTo>
                      <a:pt x="940" y="10"/>
                    </a:lnTo>
                    <a:lnTo>
                      <a:pt x="224" y="20"/>
                    </a:lnTo>
                    <a:lnTo>
                      <a:pt x="73" y="27"/>
                    </a:lnTo>
                    <a:lnTo>
                      <a:pt x="28" y="32"/>
                    </a:lnTo>
                    <a:lnTo>
                      <a:pt x="22" y="35"/>
                    </a:lnTo>
                    <a:lnTo>
                      <a:pt x="19" y="43"/>
                    </a:lnTo>
                    <a:lnTo>
                      <a:pt x="14" y="109"/>
                    </a:lnTo>
                    <a:lnTo>
                      <a:pt x="8" y="296"/>
                    </a:lnTo>
                    <a:lnTo>
                      <a:pt x="0" y="918"/>
                    </a:lnTo>
                    <a:lnTo>
                      <a:pt x="0" y="1959"/>
                    </a:lnTo>
                    <a:lnTo>
                      <a:pt x="8" y="2580"/>
                    </a:lnTo>
                    <a:lnTo>
                      <a:pt x="14" y="2768"/>
                    </a:lnTo>
                    <a:lnTo>
                      <a:pt x="19" y="2833"/>
                    </a:lnTo>
                    <a:lnTo>
                      <a:pt x="22" y="2842"/>
                    </a:lnTo>
                    <a:lnTo>
                      <a:pt x="28" y="2845"/>
                    </a:lnTo>
                    <a:lnTo>
                      <a:pt x="61" y="2850"/>
                    </a:lnTo>
                    <a:lnTo>
                      <a:pt x="167" y="2857"/>
                    </a:lnTo>
                    <a:lnTo>
                      <a:pt x="641" y="2869"/>
                    </a:lnTo>
                    <a:lnTo>
                      <a:pt x="1272" y="2877"/>
                    </a:lnTo>
                    <a:lnTo>
                      <a:pt x="1886" y="2881"/>
                    </a:lnTo>
                    <a:lnTo>
                      <a:pt x="3969" y="2884"/>
                    </a:lnTo>
                    <a:lnTo>
                      <a:pt x="6288" y="2879"/>
                    </a:lnTo>
                    <a:lnTo>
                      <a:pt x="7615" y="2871"/>
                    </a:lnTo>
                    <a:lnTo>
                      <a:pt x="8132" y="2865"/>
                    </a:lnTo>
                    <a:lnTo>
                      <a:pt x="8214" y="2862"/>
                    </a:lnTo>
                    <a:lnTo>
                      <a:pt x="8256" y="2858"/>
                    </a:lnTo>
                    <a:lnTo>
                      <a:pt x="8310" y="2850"/>
                    </a:lnTo>
                    <a:lnTo>
                      <a:pt x="8338" y="2839"/>
                    </a:lnTo>
                    <a:lnTo>
                      <a:pt x="8351" y="2821"/>
                    </a:lnTo>
                    <a:lnTo>
                      <a:pt x="8356" y="2807"/>
                    </a:lnTo>
                    <a:lnTo>
                      <a:pt x="8360" y="2714"/>
                    </a:lnTo>
                    <a:lnTo>
                      <a:pt x="8367" y="1959"/>
                    </a:lnTo>
                    <a:lnTo>
                      <a:pt x="8367" y="1418"/>
                    </a:lnTo>
                    <a:lnTo>
                      <a:pt x="8367" y="642"/>
                    </a:lnTo>
                    <a:lnTo>
                      <a:pt x="8360" y="163"/>
                    </a:lnTo>
                    <a:lnTo>
                      <a:pt x="8352" y="77"/>
                    </a:lnTo>
                    <a:lnTo>
                      <a:pt x="8345" y="52"/>
                    </a:lnTo>
                    <a:lnTo>
                      <a:pt x="8341" y="47"/>
                    </a:lnTo>
                    <a:lnTo>
                      <a:pt x="8336" y="42"/>
                    </a:lnTo>
                    <a:lnTo>
                      <a:pt x="8316" y="35"/>
                    </a:lnTo>
                    <a:lnTo>
                      <a:pt x="8254" y="26"/>
                    </a:lnTo>
                    <a:lnTo>
                      <a:pt x="7934" y="16"/>
                    </a:lnTo>
                    <a:lnTo>
                      <a:pt x="7432" y="12"/>
                    </a:lnTo>
                    <a:lnTo>
                      <a:pt x="6146" y="3"/>
                    </a:lnTo>
                    <a:lnTo>
                      <a:pt x="3362" y="0"/>
                    </a:lnTo>
                    <a:lnTo>
                      <a:pt x="1939" y="5"/>
                    </a:lnTo>
                    <a:close/>
                    <a:moveTo>
                      <a:pt x="759" y="1455"/>
                    </a:moveTo>
                    <a:lnTo>
                      <a:pt x="759" y="2388"/>
                    </a:lnTo>
                    <a:lnTo>
                      <a:pt x="684" y="2388"/>
                    </a:lnTo>
                    <a:lnTo>
                      <a:pt x="609" y="2388"/>
                    </a:lnTo>
                    <a:lnTo>
                      <a:pt x="609" y="1455"/>
                    </a:lnTo>
                    <a:lnTo>
                      <a:pt x="609" y="522"/>
                    </a:lnTo>
                    <a:lnTo>
                      <a:pt x="684" y="522"/>
                    </a:lnTo>
                    <a:lnTo>
                      <a:pt x="759" y="522"/>
                    </a:lnTo>
                    <a:lnTo>
                      <a:pt x="759" y="1455"/>
                    </a:lnTo>
                    <a:close/>
                    <a:moveTo>
                      <a:pt x="1542" y="1455"/>
                    </a:moveTo>
                    <a:lnTo>
                      <a:pt x="1542" y="2388"/>
                    </a:lnTo>
                    <a:lnTo>
                      <a:pt x="1459" y="2388"/>
                    </a:lnTo>
                    <a:lnTo>
                      <a:pt x="1376" y="2388"/>
                    </a:lnTo>
                    <a:lnTo>
                      <a:pt x="1376" y="1455"/>
                    </a:lnTo>
                    <a:lnTo>
                      <a:pt x="1376" y="522"/>
                    </a:lnTo>
                    <a:lnTo>
                      <a:pt x="1459" y="522"/>
                    </a:lnTo>
                    <a:lnTo>
                      <a:pt x="1542" y="522"/>
                    </a:lnTo>
                    <a:lnTo>
                      <a:pt x="1542" y="1455"/>
                    </a:lnTo>
                    <a:close/>
                    <a:moveTo>
                      <a:pt x="2309" y="1455"/>
                    </a:moveTo>
                    <a:lnTo>
                      <a:pt x="2309" y="2388"/>
                    </a:lnTo>
                    <a:lnTo>
                      <a:pt x="2242" y="2388"/>
                    </a:lnTo>
                    <a:lnTo>
                      <a:pt x="2176" y="2388"/>
                    </a:lnTo>
                    <a:lnTo>
                      <a:pt x="2176" y="1455"/>
                    </a:lnTo>
                    <a:lnTo>
                      <a:pt x="2176" y="522"/>
                    </a:lnTo>
                    <a:lnTo>
                      <a:pt x="2242" y="522"/>
                    </a:lnTo>
                    <a:lnTo>
                      <a:pt x="2309" y="522"/>
                    </a:lnTo>
                    <a:lnTo>
                      <a:pt x="2309" y="1455"/>
                    </a:lnTo>
                    <a:close/>
                    <a:moveTo>
                      <a:pt x="3092" y="1455"/>
                    </a:moveTo>
                    <a:lnTo>
                      <a:pt x="3092" y="2388"/>
                    </a:lnTo>
                    <a:lnTo>
                      <a:pt x="3009" y="2388"/>
                    </a:lnTo>
                    <a:lnTo>
                      <a:pt x="2926" y="2388"/>
                    </a:lnTo>
                    <a:lnTo>
                      <a:pt x="2926" y="1455"/>
                    </a:lnTo>
                    <a:lnTo>
                      <a:pt x="2926" y="522"/>
                    </a:lnTo>
                    <a:lnTo>
                      <a:pt x="3009" y="522"/>
                    </a:lnTo>
                    <a:lnTo>
                      <a:pt x="3092" y="522"/>
                    </a:lnTo>
                    <a:lnTo>
                      <a:pt x="3092" y="1455"/>
                    </a:lnTo>
                    <a:close/>
                    <a:moveTo>
                      <a:pt x="3876" y="1455"/>
                    </a:moveTo>
                    <a:lnTo>
                      <a:pt x="3876" y="2388"/>
                    </a:lnTo>
                    <a:lnTo>
                      <a:pt x="3801" y="2388"/>
                    </a:lnTo>
                    <a:lnTo>
                      <a:pt x="3726" y="2388"/>
                    </a:lnTo>
                    <a:lnTo>
                      <a:pt x="3726" y="1455"/>
                    </a:lnTo>
                    <a:lnTo>
                      <a:pt x="3726" y="522"/>
                    </a:lnTo>
                    <a:lnTo>
                      <a:pt x="3801" y="522"/>
                    </a:lnTo>
                    <a:lnTo>
                      <a:pt x="3876" y="522"/>
                    </a:lnTo>
                    <a:lnTo>
                      <a:pt x="3876" y="1455"/>
                    </a:lnTo>
                    <a:close/>
                    <a:moveTo>
                      <a:pt x="4642" y="1455"/>
                    </a:moveTo>
                    <a:lnTo>
                      <a:pt x="4642" y="2388"/>
                    </a:lnTo>
                    <a:lnTo>
                      <a:pt x="4559" y="2388"/>
                    </a:lnTo>
                    <a:lnTo>
                      <a:pt x="4476" y="2388"/>
                    </a:lnTo>
                    <a:lnTo>
                      <a:pt x="4476" y="1455"/>
                    </a:lnTo>
                    <a:lnTo>
                      <a:pt x="4476" y="522"/>
                    </a:lnTo>
                    <a:lnTo>
                      <a:pt x="4559" y="522"/>
                    </a:lnTo>
                    <a:lnTo>
                      <a:pt x="4642" y="522"/>
                    </a:lnTo>
                    <a:lnTo>
                      <a:pt x="4642" y="1455"/>
                    </a:lnTo>
                    <a:close/>
                    <a:moveTo>
                      <a:pt x="5409" y="1455"/>
                    </a:moveTo>
                    <a:lnTo>
                      <a:pt x="5409" y="2388"/>
                    </a:lnTo>
                    <a:lnTo>
                      <a:pt x="5342" y="2388"/>
                    </a:lnTo>
                    <a:lnTo>
                      <a:pt x="5276" y="2388"/>
                    </a:lnTo>
                    <a:lnTo>
                      <a:pt x="5276" y="1455"/>
                    </a:lnTo>
                    <a:lnTo>
                      <a:pt x="5276" y="522"/>
                    </a:lnTo>
                    <a:lnTo>
                      <a:pt x="5342" y="522"/>
                    </a:lnTo>
                    <a:lnTo>
                      <a:pt x="5409" y="522"/>
                    </a:lnTo>
                    <a:lnTo>
                      <a:pt x="5409" y="1455"/>
                    </a:lnTo>
                    <a:close/>
                    <a:moveTo>
                      <a:pt x="6192" y="1455"/>
                    </a:moveTo>
                    <a:lnTo>
                      <a:pt x="6192" y="2388"/>
                    </a:lnTo>
                    <a:lnTo>
                      <a:pt x="6117" y="2388"/>
                    </a:lnTo>
                    <a:lnTo>
                      <a:pt x="6042" y="2388"/>
                    </a:lnTo>
                    <a:lnTo>
                      <a:pt x="6042" y="1455"/>
                    </a:lnTo>
                    <a:lnTo>
                      <a:pt x="6042" y="522"/>
                    </a:lnTo>
                    <a:lnTo>
                      <a:pt x="6117" y="522"/>
                    </a:lnTo>
                    <a:lnTo>
                      <a:pt x="6192" y="522"/>
                    </a:lnTo>
                    <a:lnTo>
                      <a:pt x="6192" y="1455"/>
                    </a:lnTo>
                    <a:close/>
                    <a:moveTo>
                      <a:pt x="6959" y="1455"/>
                    </a:moveTo>
                    <a:lnTo>
                      <a:pt x="6959" y="2388"/>
                    </a:lnTo>
                    <a:lnTo>
                      <a:pt x="6892" y="2388"/>
                    </a:lnTo>
                    <a:lnTo>
                      <a:pt x="6826" y="2388"/>
                    </a:lnTo>
                    <a:lnTo>
                      <a:pt x="6826" y="1455"/>
                    </a:lnTo>
                    <a:lnTo>
                      <a:pt x="6826" y="522"/>
                    </a:lnTo>
                    <a:lnTo>
                      <a:pt x="6892" y="522"/>
                    </a:lnTo>
                    <a:lnTo>
                      <a:pt x="6959" y="522"/>
                    </a:lnTo>
                    <a:lnTo>
                      <a:pt x="6959" y="1455"/>
                    </a:lnTo>
                    <a:close/>
                    <a:moveTo>
                      <a:pt x="7756" y="1458"/>
                    </a:moveTo>
                    <a:lnTo>
                      <a:pt x="7759" y="2388"/>
                    </a:lnTo>
                    <a:lnTo>
                      <a:pt x="7676" y="2388"/>
                    </a:lnTo>
                    <a:lnTo>
                      <a:pt x="7592" y="2388"/>
                    </a:lnTo>
                    <a:lnTo>
                      <a:pt x="7592" y="1453"/>
                    </a:lnTo>
                    <a:lnTo>
                      <a:pt x="7592" y="520"/>
                    </a:lnTo>
                    <a:lnTo>
                      <a:pt x="7672" y="525"/>
                    </a:lnTo>
                    <a:lnTo>
                      <a:pt x="7751" y="530"/>
                    </a:lnTo>
                    <a:lnTo>
                      <a:pt x="7756" y="1458"/>
                    </a:lnTo>
                    <a:close/>
                  </a:path>
                </a:pathLst>
              </a:custGeom>
              <a:solidFill>
                <a:srgbClr val="B516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 7"/>
              <p:cNvSpPr>
                <a:spLocks/>
              </p:cNvSpPr>
              <p:nvPr/>
            </p:nvSpPr>
            <p:spPr bwMode="auto">
              <a:xfrm>
                <a:off x="1942" y="1029"/>
                <a:ext cx="4155" cy="1776"/>
              </a:xfrm>
              <a:custGeom>
                <a:avLst/>
                <a:gdLst>
                  <a:gd name="T0" fmla="*/ 31 w 9419"/>
                  <a:gd name="T1" fmla="*/ 78 h 4028"/>
                  <a:gd name="T2" fmla="*/ 7 w 9419"/>
                  <a:gd name="T3" fmla="*/ 202 h 4028"/>
                  <a:gd name="T4" fmla="*/ 5 w 9419"/>
                  <a:gd name="T5" fmla="*/ 2803 h 4028"/>
                  <a:gd name="T6" fmla="*/ 22 w 9419"/>
                  <a:gd name="T7" fmla="*/ 3938 h 4028"/>
                  <a:gd name="T8" fmla="*/ 81 w 9419"/>
                  <a:gd name="T9" fmla="*/ 3990 h 4028"/>
                  <a:gd name="T10" fmla="*/ 285 w 9419"/>
                  <a:gd name="T11" fmla="*/ 4027 h 4028"/>
                  <a:gd name="T12" fmla="*/ 376 w 9419"/>
                  <a:gd name="T13" fmla="*/ 4022 h 4028"/>
                  <a:gd name="T14" fmla="*/ 422 w 9419"/>
                  <a:gd name="T15" fmla="*/ 3925 h 4028"/>
                  <a:gd name="T16" fmla="*/ 528 w 9419"/>
                  <a:gd name="T17" fmla="*/ 3722 h 4028"/>
                  <a:gd name="T18" fmla="*/ 659 w 9419"/>
                  <a:gd name="T19" fmla="*/ 3586 h 4028"/>
                  <a:gd name="T20" fmla="*/ 895 w 9419"/>
                  <a:gd name="T21" fmla="*/ 3455 h 4028"/>
                  <a:gd name="T22" fmla="*/ 1040 w 9419"/>
                  <a:gd name="T23" fmla="*/ 3423 h 4028"/>
                  <a:gd name="T24" fmla="*/ 1230 w 9419"/>
                  <a:gd name="T25" fmla="*/ 3426 h 4028"/>
                  <a:gd name="T26" fmla="*/ 1410 w 9419"/>
                  <a:gd name="T27" fmla="*/ 3477 h 4028"/>
                  <a:gd name="T28" fmla="*/ 1570 w 9419"/>
                  <a:gd name="T29" fmla="*/ 3571 h 4028"/>
                  <a:gd name="T30" fmla="*/ 1702 w 9419"/>
                  <a:gd name="T31" fmla="*/ 3706 h 4028"/>
                  <a:gd name="T32" fmla="*/ 1784 w 9419"/>
                  <a:gd name="T33" fmla="*/ 3845 h 4028"/>
                  <a:gd name="T34" fmla="*/ 1852 w 9419"/>
                  <a:gd name="T35" fmla="*/ 3990 h 4028"/>
                  <a:gd name="T36" fmla="*/ 1951 w 9419"/>
                  <a:gd name="T37" fmla="*/ 4008 h 4028"/>
                  <a:gd name="T38" fmla="*/ 2152 w 9419"/>
                  <a:gd name="T39" fmla="*/ 3786 h 4028"/>
                  <a:gd name="T40" fmla="*/ 2283 w 9419"/>
                  <a:gd name="T41" fmla="*/ 3609 h 4028"/>
                  <a:gd name="T42" fmla="*/ 2428 w 9419"/>
                  <a:gd name="T43" fmla="*/ 3505 h 4028"/>
                  <a:gd name="T44" fmla="*/ 2576 w 9419"/>
                  <a:gd name="T45" fmla="*/ 3444 h 4028"/>
                  <a:gd name="T46" fmla="*/ 2824 w 9419"/>
                  <a:gd name="T47" fmla="*/ 3412 h 4028"/>
                  <a:gd name="T48" fmla="*/ 3060 w 9419"/>
                  <a:gd name="T49" fmla="*/ 3460 h 4028"/>
                  <a:gd name="T50" fmla="*/ 3228 w 9419"/>
                  <a:gd name="T51" fmla="*/ 3565 h 4028"/>
                  <a:gd name="T52" fmla="*/ 3419 w 9419"/>
                  <a:gd name="T53" fmla="*/ 3763 h 4028"/>
                  <a:gd name="T54" fmla="*/ 3491 w 9419"/>
                  <a:gd name="T55" fmla="*/ 3925 h 4028"/>
                  <a:gd name="T56" fmla="*/ 5266 w 9419"/>
                  <a:gd name="T57" fmla="*/ 4025 h 4028"/>
                  <a:gd name="T58" fmla="*/ 5763 w 9419"/>
                  <a:gd name="T59" fmla="*/ 4004 h 4028"/>
                  <a:gd name="T60" fmla="*/ 5826 w 9419"/>
                  <a:gd name="T61" fmla="*/ 3858 h 4028"/>
                  <a:gd name="T62" fmla="*/ 5903 w 9419"/>
                  <a:gd name="T63" fmla="*/ 3717 h 4028"/>
                  <a:gd name="T64" fmla="*/ 6009 w 9419"/>
                  <a:gd name="T65" fmla="*/ 3604 h 4028"/>
                  <a:gd name="T66" fmla="*/ 6168 w 9419"/>
                  <a:gd name="T67" fmla="*/ 3484 h 4028"/>
                  <a:gd name="T68" fmla="*/ 6338 w 9419"/>
                  <a:gd name="T69" fmla="*/ 3429 h 4028"/>
                  <a:gd name="T70" fmla="*/ 6506 w 9419"/>
                  <a:gd name="T71" fmla="*/ 3418 h 4028"/>
                  <a:gd name="T72" fmla="*/ 6838 w 9419"/>
                  <a:gd name="T73" fmla="*/ 3488 h 4028"/>
                  <a:gd name="T74" fmla="*/ 7081 w 9419"/>
                  <a:gd name="T75" fmla="*/ 3699 h 4028"/>
                  <a:gd name="T76" fmla="*/ 7251 w 9419"/>
                  <a:gd name="T77" fmla="*/ 4018 h 4028"/>
                  <a:gd name="T78" fmla="*/ 7476 w 9419"/>
                  <a:gd name="T79" fmla="*/ 4007 h 4028"/>
                  <a:gd name="T80" fmla="*/ 7512 w 9419"/>
                  <a:gd name="T81" fmla="*/ 3974 h 4028"/>
                  <a:gd name="T82" fmla="*/ 7561 w 9419"/>
                  <a:gd name="T83" fmla="*/ 3842 h 4028"/>
                  <a:gd name="T84" fmla="*/ 7716 w 9419"/>
                  <a:gd name="T85" fmla="*/ 3633 h 4028"/>
                  <a:gd name="T86" fmla="*/ 7943 w 9419"/>
                  <a:gd name="T87" fmla="*/ 3477 h 4028"/>
                  <a:gd name="T88" fmla="*/ 8153 w 9419"/>
                  <a:gd name="T89" fmla="*/ 3414 h 4028"/>
                  <a:gd name="T90" fmla="*/ 8315 w 9419"/>
                  <a:gd name="T91" fmla="*/ 3409 h 4028"/>
                  <a:gd name="T92" fmla="*/ 8507 w 9419"/>
                  <a:gd name="T93" fmla="*/ 3458 h 4028"/>
                  <a:gd name="T94" fmla="*/ 8771 w 9419"/>
                  <a:gd name="T95" fmla="*/ 3622 h 4028"/>
                  <a:gd name="T96" fmla="*/ 8950 w 9419"/>
                  <a:gd name="T97" fmla="*/ 3871 h 4028"/>
                  <a:gd name="T98" fmla="*/ 9171 w 9419"/>
                  <a:gd name="T99" fmla="*/ 4013 h 4028"/>
                  <a:gd name="T100" fmla="*/ 9333 w 9419"/>
                  <a:gd name="T101" fmla="*/ 3998 h 4028"/>
                  <a:gd name="T102" fmla="*/ 9390 w 9419"/>
                  <a:gd name="T103" fmla="*/ 3932 h 4028"/>
                  <a:gd name="T104" fmla="*/ 9412 w 9419"/>
                  <a:gd name="T105" fmla="*/ 3548 h 4028"/>
                  <a:gd name="T106" fmla="*/ 757 w 9419"/>
                  <a:gd name="T107" fmla="*/ 3175 h 4028"/>
                  <a:gd name="T108" fmla="*/ 422 w 9419"/>
                  <a:gd name="T109" fmla="*/ 0 h 4028"/>
                  <a:gd name="T110" fmla="*/ 105 w 9419"/>
                  <a:gd name="T111" fmla="*/ 9 h 40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419" h="4028">
                    <a:moveTo>
                      <a:pt x="59" y="40"/>
                    </a:moveTo>
                    <a:lnTo>
                      <a:pt x="48" y="51"/>
                    </a:lnTo>
                    <a:lnTo>
                      <a:pt x="31" y="78"/>
                    </a:lnTo>
                    <a:lnTo>
                      <a:pt x="20" y="115"/>
                    </a:lnTo>
                    <a:lnTo>
                      <a:pt x="11" y="167"/>
                    </a:lnTo>
                    <a:lnTo>
                      <a:pt x="7" y="202"/>
                    </a:lnTo>
                    <a:lnTo>
                      <a:pt x="3" y="374"/>
                    </a:lnTo>
                    <a:lnTo>
                      <a:pt x="0" y="1442"/>
                    </a:lnTo>
                    <a:lnTo>
                      <a:pt x="5" y="2803"/>
                    </a:lnTo>
                    <a:lnTo>
                      <a:pt x="13" y="3605"/>
                    </a:lnTo>
                    <a:lnTo>
                      <a:pt x="19" y="3905"/>
                    </a:lnTo>
                    <a:lnTo>
                      <a:pt x="22" y="3938"/>
                    </a:lnTo>
                    <a:lnTo>
                      <a:pt x="31" y="3952"/>
                    </a:lnTo>
                    <a:lnTo>
                      <a:pt x="62" y="3980"/>
                    </a:lnTo>
                    <a:lnTo>
                      <a:pt x="81" y="3990"/>
                    </a:lnTo>
                    <a:lnTo>
                      <a:pt x="105" y="4000"/>
                    </a:lnTo>
                    <a:lnTo>
                      <a:pt x="189" y="4017"/>
                    </a:lnTo>
                    <a:lnTo>
                      <a:pt x="285" y="4027"/>
                    </a:lnTo>
                    <a:lnTo>
                      <a:pt x="343" y="4028"/>
                    </a:lnTo>
                    <a:lnTo>
                      <a:pt x="369" y="4025"/>
                    </a:lnTo>
                    <a:lnTo>
                      <a:pt x="376" y="4022"/>
                    </a:lnTo>
                    <a:lnTo>
                      <a:pt x="384" y="4012"/>
                    </a:lnTo>
                    <a:lnTo>
                      <a:pt x="409" y="3959"/>
                    </a:lnTo>
                    <a:lnTo>
                      <a:pt x="422" y="3925"/>
                    </a:lnTo>
                    <a:lnTo>
                      <a:pt x="441" y="3878"/>
                    </a:lnTo>
                    <a:lnTo>
                      <a:pt x="481" y="3795"/>
                    </a:lnTo>
                    <a:lnTo>
                      <a:pt x="528" y="3722"/>
                    </a:lnTo>
                    <a:lnTo>
                      <a:pt x="586" y="3654"/>
                    </a:lnTo>
                    <a:lnTo>
                      <a:pt x="621" y="3620"/>
                    </a:lnTo>
                    <a:lnTo>
                      <a:pt x="659" y="3586"/>
                    </a:lnTo>
                    <a:lnTo>
                      <a:pt x="733" y="3531"/>
                    </a:lnTo>
                    <a:lnTo>
                      <a:pt x="809" y="3488"/>
                    </a:lnTo>
                    <a:lnTo>
                      <a:pt x="895" y="3455"/>
                    </a:lnTo>
                    <a:lnTo>
                      <a:pt x="944" y="3442"/>
                    </a:lnTo>
                    <a:lnTo>
                      <a:pt x="976" y="3434"/>
                    </a:lnTo>
                    <a:lnTo>
                      <a:pt x="1040" y="3423"/>
                    </a:lnTo>
                    <a:lnTo>
                      <a:pt x="1104" y="3419"/>
                    </a:lnTo>
                    <a:lnTo>
                      <a:pt x="1168" y="3419"/>
                    </a:lnTo>
                    <a:lnTo>
                      <a:pt x="1230" y="3426"/>
                    </a:lnTo>
                    <a:lnTo>
                      <a:pt x="1292" y="3438"/>
                    </a:lnTo>
                    <a:lnTo>
                      <a:pt x="1352" y="3455"/>
                    </a:lnTo>
                    <a:lnTo>
                      <a:pt x="1410" y="3477"/>
                    </a:lnTo>
                    <a:lnTo>
                      <a:pt x="1466" y="3503"/>
                    </a:lnTo>
                    <a:lnTo>
                      <a:pt x="1520" y="3535"/>
                    </a:lnTo>
                    <a:lnTo>
                      <a:pt x="1570" y="3571"/>
                    </a:lnTo>
                    <a:lnTo>
                      <a:pt x="1618" y="3612"/>
                    </a:lnTo>
                    <a:lnTo>
                      <a:pt x="1662" y="3657"/>
                    </a:lnTo>
                    <a:lnTo>
                      <a:pt x="1702" y="3706"/>
                    </a:lnTo>
                    <a:lnTo>
                      <a:pt x="1738" y="3758"/>
                    </a:lnTo>
                    <a:lnTo>
                      <a:pt x="1770" y="3815"/>
                    </a:lnTo>
                    <a:lnTo>
                      <a:pt x="1784" y="3845"/>
                    </a:lnTo>
                    <a:lnTo>
                      <a:pt x="1826" y="3939"/>
                    </a:lnTo>
                    <a:lnTo>
                      <a:pt x="1847" y="3983"/>
                    </a:lnTo>
                    <a:lnTo>
                      <a:pt x="1852" y="3990"/>
                    </a:lnTo>
                    <a:lnTo>
                      <a:pt x="1867" y="3999"/>
                    </a:lnTo>
                    <a:lnTo>
                      <a:pt x="1907" y="4007"/>
                    </a:lnTo>
                    <a:lnTo>
                      <a:pt x="1951" y="4008"/>
                    </a:lnTo>
                    <a:lnTo>
                      <a:pt x="2041" y="4008"/>
                    </a:lnTo>
                    <a:lnTo>
                      <a:pt x="2117" y="3853"/>
                    </a:lnTo>
                    <a:lnTo>
                      <a:pt x="2152" y="3786"/>
                    </a:lnTo>
                    <a:lnTo>
                      <a:pt x="2205" y="3701"/>
                    </a:lnTo>
                    <a:lnTo>
                      <a:pt x="2243" y="3652"/>
                    </a:lnTo>
                    <a:lnTo>
                      <a:pt x="2283" y="3609"/>
                    </a:lnTo>
                    <a:lnTo>
                      <a:pt x="2327" y="3570"/>
                    </a:lnTo>
                    <a:lnTo>
                      <a:pt x="2375" y="3536"/>
                    </a:lnTo>
                    <a:lnTo>
                      <a:pt x="2428" y="3505"/>
                    </a:lnTo>
                    <a:lnTo>
                      <a:pt x="2457" y="3490"/>
                    </a:lnTo>
                    <a:lnTo>
                      <a:pt x="2496" y="3472"/>
                    </a:lnTo>
                    <a:lnTo>
                      <a:pt x="2576" y="3444"/>
                    </a:lnTo>
                    <a:lnTo>
                      <a:pt x="2658" y="3425"/>
                    </a:lnTo>
                    <a:lnTo>
                      <a:pt x="2741" y="3414"/>
                    </a:lnTo>
                    <a:lnTo>
                      <a:pt x="2824" y="3412"/>
                    </a:lnTo>
                    <a:lnTo>
                      <a:pt x="2906" y="3419"/>
                    </a:lnTo>
                    <a:lnTo>
                      <a:pt x="2985" y="3435"/>
                    </a:lnTo>
                    <a:lnTo>
                      <a:pt x="3060" y="3460"/>
                    </a:lnTo>
                    <a:lnTo>
                      <a:pt x="3096" y="3477"/>
                    </a:lnTo>
                    <a:lnTo>
                      <a:pt x="3136" y="3498"/>
                    </a:lnTo>
                    <a:lnTo>
                      <a:pt x="3228" y="3565"/>
                    </a:lnTo>
                    <a:lnTo>
                      <a:pt x="3320" y="3646"/>
                    </a:lnTo>
                    <a:lnTo>
                      <a:pt x="3395" y="3728"/>
                    </a:lnTo>
                    <a:lnTo>
                      <a:pt x="3419" y="3763"/>
                    </a:lnTo>
                    <a:lnTo>
                      <a:pt x="3436" y="3793"/>
                    </a:lnTo>
                    <a:lnTo>
                      <a:pt x="3475" y="3881"/>
                    </a:lnTo>
                    <a:lnTo>
                      <a:pt x="3491" y="3925"/>
                    </a:lnTo>
                    <a:lnTo>
                      <a:pt x="3526" y="4025"/>
                    </a:lnTo>
                    <a:lnTo>
                      <a:pt x="4639" y="4025"/>
                    </a:lnTo>
                    <a:lnTo>
                      <a:pt x="5266" y="4025"/>
                    </a:lnTo>
                    <a:lnTo>
                      <a:pt x="5668" y="4018"/>
                    </a:lnTo>
                    <a:lnTo>
                      <a:pt x="5743" y="4010"/>
                    </a:lnTo>
                    <a:lnTo>
                      <a:pt x="5763" y="4004"/>
                    </a:lnTo>
                    <a:lnTo>
                      <a:pt x="5766" y="4000"/>
                    </a:lnTo>
                    <a:lnTo>
                      <a:pt x="5787" y="3954"/>
                    </a:lnTo>
                    <a:lnTo>
                      <a:pt x="5826" y="3858"/>
                    </a:lnTo>
                    <a:lnTo>
                      <a:pt x="5839" y="3825"/>
                    </a:lnTo>
                    <a:lnTo>
                      <a:pt x="5868" y="3769"/>
                    </a:lnTo>
                    <a:lnTo>
                      <a:pt x="5903" y="3717"/>
                    </a:lnTo>
                    <a:lnTo>
                      <a:pt x="5950" y="3662"/>
                    </a:lnTo>
                    <a:lnTo>
                      <a:pt x="5981" y="3632"/>
                    </a:lnTo>
                    <a:lnTo>
                      <a:pt x="6009" y="3604"/>
                    </a:lnTo>
                    <a:lnTo>
                      <a:pt x="6063" y="3556"/>
                    </a:lnTo>
                    <a:lnTo>
                      <a:pt x="6116" y="3516"/>
                    </a:lnTo>
                    <a:lnTo>
                      <a:pt x="6168" y="3484"/>
                    </a:lnTo>
                    <a:lnTo>
                      <a:pt x="6221" y="3460"/>
                    </a:lnTo>
                    <a:lnTo>
                      <a:pt x="6278" y="3442"/>
                    </a:lnTo>
                    <a:lnTo>
                      <a:pt x="6338" y="3429"/>
                    </a:lnTo>
                    <a:lnTo>
                      <a:pt x="6404" y="3422"/>
                    </a:lnTo>
                    <a:lnTo>
                      <a:pt x="6441" y="3420"/>
                    </a:lnTo>
                    <a:lnTo>
                      <a:pt x="6506" y="3418"/>
                    </a:lnTo>
                    <a:lnTo>
                      <a:pt x="6628" y="3426"/>
                    </a:lnTo>
                    <a:lnTo>
                      <a:pt x="6738" y="3449"/>
                    </a:lnTo>
                    <a:lnTo>
                      <a:pt x="6838" y="3488"/>
                    </a:lnTo>
                    <a:lnTo>
                      <a:pt x="6928" y="3542"/>
                    </a:lnTo>
                    <a:lnTo>
                      <a:pt x="7009" y="3612"/>
                    </a:lnTo>
                    <a:lnTo>
                      <a:pt x="7081" y="3699"/>
                    </a:lnTo>
                    <a:lnTo>
                      <a:pt x="7146" y="3803"/>
                    </a:lnTo>
                    <a:lnTo>
                      <a:pt x="7176" y="3862"/>
                    </a:lnTo>
                    <a:lnTo>
                      <a:pt x="7251" y="4018"/>
                    </a:lnTo>
                    <a:lnTo>
                      <a:pt x="7379" y="4013"/>
                    </a:lnTo>
                    <a:lnTo>
                      <a:pt x="7423" y="4012"/>
                    </a:lnTo>
                    <a:lnTo>
                      <a:pt x="7476" y="4007"/>
                    </a:lnTo>
                    <a:lnTo>
                      <a:pt x="7497" y="4000"/>
                    </a:lnTo>
                    <a:lnTo>
                      <a:pt x="7505" y="3992"/>
                    </a:lnTo>
                    <a:lnTo>
                      <a:pt x="7512" y="3974"/>
                    </a:lnTo>
                    <a:lnTo>
                      <a:pt x="7516" y="3957"/>
                    </a:lnTo>
                    <a:lnTo>
                      <a:pt x="7525" y="3922"/>
                    </a:lnTo>
                    <a:lnTo>
                      <a:pt x="7561" y="3842"/>
                    </a:lnTo>
                    <a:lnTo>
                      <a:pt x="7615" y="3755"/>
                    </a:lnTo>
                    <a:lnTo>
                      <a:pt x="7680" y="3671"/>
                    </a:lnTo>
                    <a:lnTo>
                      <a:pt x="7716" y="3633"/>
                    </a:lnTo>
                    <a:lnTo>
                      <a:pt x="7756" y="3595"/>
                    </a:lnTo>
                    <a:lnTo>
                      <a:pt x="7844" y="3529"/>
                    </a:lnTo>
                    <a:lnTo>
                      <a:pt x="7943" y="3477"/>
                    </a:lnTo>
                    <a:lnTo>
                      <a:pt x="8055" y="3437"/>
                    </a:lnTo>
                    <a:lnTo>
                      <a:pt x="8117" y="3422"/>
                    </a:lnTo>
                    <a:lnTo>
                      <a:pt x="8153" y="3414"/>
                    </a:lnTo>
                    <a:lnTo>
                      <a:pt x="8211" y="3405"/>
                    </a:lnTo>
                    <a:lnTo>
                      <a:pt x="8261" y="3404"/>
                    </a:lnTo>
                    <a:lnTo>
                      <a:pt x="8315" y="3409"/>
                    </a:lnTo>
                    <a:lnTo>
                      <a:pt x="8349" y="3415"/>
                    </a:lnTo>
                    <a:lnTo>
                      <a:pt x="8403" y="3426"/>
                    </a:lnTo>
                    <a:lnTo>
                      <a:pt x="8507" y="3458"/>
                    </a:lnTo>
                    <a:lnTo>
                      <a:pt x="8603" y="3502"/>
                    </a:lnTo>
                    <a:lnTo>
                      <a:pt x="8691" y="3557"/>
                    </a:lnTo>
                    <a:lnTo>
                      <a:pt x="8771" y="3622"/>
                    </a:lnTo>
                    <a:lnTo>
                      <a:pt x="8842" y="3697"/>
                    </a:lnTo>
                    <a:lnTo>
                      <a:pt x="8901" y="3780"/>
                    </a:lnTo>
                    <a:lnTo>
                      <a:pt x="8950" y="3871"/>
                    </a:lnTo>
                    <a:lnTo>
                      <a:pt x="8969" y="3920"/>
                    </a:lnTo>
                    <a:lnTo>
                      <a:pt x="9004" y="4018"/>
                    </a:lnTo>
                    <a:lnTo>
                      <a:pt x="9171" y="4013"/>
                    </a:lnTo>
                    <a:lnTo>
                      <a:pt x="9214" y="4012"/>
                    </a:lnTo>
                    <a:lnTo>
                      <a:pt x="9283" y="4009"/>
                    </a:lnTo>
                    <a:lnTo>
                      <a:pt x="9333" y="3998"/>
                    </a:lnTo>
                    <a:lnTo>
                      <a:pt x="9360" y="3981"/>
                    </a:lnTo>
                    <a:lnTo>
                      <a:pt x="9374" y="3965"/>
                    </a:lnTo>
                    <a:lnTo>
                      <a:pt x="9390" y="3932"/>
                    </a:lnTo>
                    <a:lnTo>
                      <a:pt x="9402" y="3864"/>
                    </a:lnTo>
                    <a:lnTo>
                      <a:pt x="9410" y="3710"/>
                    </a:lnTo>
                    <a:lnTo>
                      <a:pt x="9412" y="3548"/>
                    </a:lnTo>
                    <a:lnTo>
                      <a:pt x="9419" y="3183"/>
                    </a:lnTo>
                    <a:lnTo>
                      <a:pt x="5087" y="3180"/>
                    </a:lnTo>
                    <a:lnTo>
                      <a:pt x="757" y="3175"/>
                    </a:lnTo>
                    <a:lnTo>
                      <a:pt x="752" y="1587"/>
                    </a:lnTo>
                    <a:lnTo>
                      <a:pt x="749" y="0"/>
                    </a:lnTo>
                    <a:lnTo>
                      <a:pt x="422" y="0"/>
                    </a:lnTo>
                    <a:lnTo>
                      <a:pt x="313" y="0"/>
                    </a:lnTo>
                    <a:lnTo>
                      <a:pt x="175" y="2"/>
                    </a:lnTo>
                    <a:lnTo>
                      <a:pt x="105" y="9"/>
                    </a:lnTo>
                    <a:lnTo>
                      <a:pt x="72" y="26"/>
                    </a:lnTo>
                    <a:lnTo>
                      <a:pt x="59" y="4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 8"/>
              <p:cNvSpPr>
                <a:spLocks noEditPoints="1"/>
              </p:cNvSpPr>
              <p:nvPr/>
            </p:nvSpPr>
            <p:spPr bwMode="auto">
              <a:xfrm>
                <a:off x="221" y="1419"/>
                <a:ext cx="1648" cy="1375"/>
              </a:xfrm>
              <a:custGeom>
                <a:avLst/>
                <a:gdLst>
                  <a:gd name="T0" fmla="*/ 2191 w 3735"/>
                  <a:gd name="T1" fmla="*/ 69 h 3120"/>
                  <a:gd name="T2" fmla="*/ 2126 w 3735"/>
                  <a:gd name="T3" fmla="*/ 153 h 3120"/>
                  <a:gd name="T4" fmla="*/ 2040 w 3735"/>
                  <a:gd name="T5" fmla="*/ 348 h 3120"/>
                  <a:gd name="T6" fmla="*/ 1890 w 3735"/>
                  <a:gd name="T7" fmla="*/ 809 h 3120"/>
                  <a:gd name="T8" fmla="*/ 1743 w 3735"/>
                  <a:gd name="T9" fmla="*/ 1277 h 3120"/>
                  <a:gd name="T10" fmla="*/ 1331 w 3735"/>
                  <a:gd name="T11" fmla="*/ 1407 h 3120"/>
                  <a:gd name="T12" fmla="*/ 317 w 3735"/>
                  <a:gd name="T13" fmla="*/ 1735 h 3120"/>
                  <a:gd name="T14" fmla="*/ 136 w 3735"/>
                  <a:gd name="T15" fmla="*/ 1801 h 3120"/>
                  <a:gd name="T16" fmla="*/ 65 w 3735"/>
                  <a:gd name="T17" fmla="*/ 1850 h 3120"/>
                  <a:gd name="T18" fmla="*/ 49 w 3735"/>
                  <a:gd name="T19" fmla="*/ 1873 h 3120"/>
                  <a:gd name="T20" fmla="*/ 22 w 3735"/>
                  <a:gd name="T21" fmla="*/ 1965 h 3120"/>
                  <a:gd name="T22" fmla="*/ 3 w 3735"/>
                  <a:gd name="T23" fmla="*/ 2159 h 3120"/>
                  <a:gd name="T24" fmla="*/ 1 w 3735"/>
                  <a:gd name="T25" fmla="*/ 2549 h 3120"/>
                  <a:gd name="T26" fmla="*/ 15 w 3735"/>
                  <a:gd name="T27" fmla="*/ 2916 h 3120"/>
                  <a:gd name="T28" fmla="*/ 49 w 3735"/>
                  <a:gd name="T29" fmla="*/ 3036 h 3120"/>
                  <a:gd name="T30" fmla="*/ 86 w 3735"/>
                  <a:gd name="T31" fmla="*/ 3072 h 3120"/>
                  <a:gd name="T32" fmla="*/ 156 w 3735"/>
                  <a:gd name="T33" fmla="*/ 3096 h 3120"/>
                  <a:gd name="T34" fmla="*/ 285 w 3735"/>
                  <a:gd name="T35" fmla="*/ 3109 h 3120"/>
                  <a:gd name="T36" fmla="*/ 470 w 3735"/>
                  <a:gd name="T37" fmla="*/ 3005 h 3120"/>
                  <a:gd name="T38" fmla="*/ 522 w 3735"/>
                  <a:gd name="T39" fmla="*/ 2895 h 3120"/>
                  <a:gd name="T40" fmla="*/ 609 w 3735"/>
                  <a:gd name="T41" fmla="*/ 2770 h 3120"/>
                  <a:gd name="T42" fmla="*/ 716 w 3735"/>
                  <a:gd name="T43" fmla="*/ 2671 h 3120"/>
                  <a:gd name="T44" fmla="*/ 845 w 3735"/>
                  <a:gd name="T45" fmla="*/ 2595 h 3120"/>
                  <a:gd name="T46" fmla="*/ 907 w 3735"/>
                  <a:gd name="T47" fmla="*/ 2571 h 3120"/>
                  <a:gd name="T48" fmla="*/ 1033 w 3735"/>
                  <a:gd name="T49" fmla="*/ 2546 h 3120"/>
                  <a:gd name="T50" fmla="*/ 1177 w 3735"/>
                  <a:gd name="T51" fmla="*/ 2542 h 3120"/>
                  <a:gd name="T52" fmla="*/ 1316 w 3735"/>
                  <a:gd name="T53" fmla="*/ 2557 h 3120"/>
                  <a:gd name="T54" fmla="*/ 1403 w 3735"/>
                  <a:gd name="T55" fmla="*/ 2582 h 3120"/>
                  <a:gd name="T56" fmla="*/ 1482 w 3735"/>
                  <a:gd name="T57" fmla="*/ 2622 h 3120"/>
                  <a:gd name="T58" fmla="*/ 1583 w 3735"/>
                  <a:gd name="T59" fmla="*/ 2698 h 3120"/>
                  <a:gd name="T60" fmla="*/ 1676 w 3735"/>
                  <a:gd name="T61" fmla="*/ 2800 h 3120"/>
                  <a:gd name="T62" fmla="*/ 1759 w 3735"/>
                  <a:gd name="T63" fmla="*/ 2924 h 3120"/>
                  <a:gd name="T64" fmla="*/ 1856 w 3735"/>
                  <a:gd name="T65" fmla="*/ 3109 h 3120"/>
                  <a:gd name="T66" fmla="*/ 3735 w 3735"/>
                  <a:gd name="T67" fmla="*/ 3117 h 3120"/>
                  <a:gd name="T68" fmla="*/ 3724 w 3735"/>
                  <a:gd name="T69" fmla="*/ 1152 h 3120"/>
                  <a:gd name="T70" fmla="*/ 3712 w 3735"/>
                  <a:gd name="T71" fmla="*/ 397 h 3120"/>
                  <a:gd name="T72" fmla="*/ 3689 w 3735"/>
                  <a:gd name="T73" fmla="*/ 152 h 3120"/>
                  <a:gd name="T74" fmla="*/ 3643 w 3735"/>
                  <a:gd name="T75" fmla="*/ 73 h 3120"/>
                  <a:gd name="T76" fmla="*/ 3610 w 3735"/>
                  <a:gd name="T77" fmla="*/ 49 h 3120"/>
                  <a:gd name="T78" fmla="*/ 3480 w 3735"/>
                  <a:gd name="T79" fmla="*/ 24 h 3120"/>
                  <a:gd name="T80" fmla="*/ 3201 w 3735"/>
                  <a:gd name="T81" fmla="*/ 14 h 3120"/>
                  <a:gd name="T82" fmla="*/ 2548 w 3735"/>
                  <a:gd name="T83" fmla="*/ 2 h 3120"/>
                  <a:gd name="T84" fmla="*/ 2208 w 3735"/>
                  <a:gd name="T85" fmla="*/ 54 h 3120"/>
                  <a:gd name="T86" fmla="*/ 3386 w 3735"/>
                  <a:gd name="T87" fmla="*/ 390 h 3120"/>
                  <a:gd name="T88" fmla="*/ 3396 w 3735"/>
                  <a:gd name="T89" fmla="*/ 925 h 3120"/>
                  <a:gd name="T90" fmla="*/ 3390 w 3735"/>
                  <a:gd name="T91" fmla="*/ 1230 h 3120"/>
                  <a:gd name="T92" fmla="*/ 3378 w 3735"/>
                  <a:gd name="T93" fmla="*/ 1280 h 3120"/>
                  <a:gd name="T94" fmla="*/ 3347 w 3735"/>
                  <a:gd name="T95" fmla="*/ 1315 h 3120"/>
                  <a:gd name="T96" fmla="*/ 3319 w 3735"/>
                  <a:gd name="T97" fmla="*/ 1325 h 3120"/>
                  <a:gd name="T98" fmla="*/ 3004 w 3735"/>
                  <a:gd name="T99" fmla="*/ 1338 h 3120"/>
                  <a:gd name="T100" fmla="*/ 2564 w 3735"/>
                  <a:gd name="T101" fmla="*/ 1341 h 3120"/>
                  <a:gd name="T102" fmla="*/ 2276 w 3735"/>
                  <a:gd name="T103" fmla="*/ 1332 h 3120"/>
                  <a:gd name="T104" fmla="*/ 2200 w 3735"/>
                  <a:gd name="T105" fmla="*/ 1306 h 3120"/>
                  <a:gd name="T106" fmla="*/ 2185 w 3735"/>
                  <a:gd name="T107" fmla="*/ 1273 h 3120"/>
                  <a:gd name="T108" fmla="*/ 2190 w 3735"/>
                  <a:gd name="T109" fmla="*/ 1212 h 3120"/>
                  <a:gd name="T110" fmla="*/ 2236 w 3735"/>
                  <a:gd name="T111" fmla="*/ 946 h 3120"/>
                  <a:gd name="T112" fmla="*/ 2328 w 3735"/>
                  <a:gd name="T113" fmla="*/ 507 h 3120"/>
                  <a:gd name="T114" fmla="*/ 2351 w 3735"/>
                  <a:gd name="T115" fmla="*/ 423 h 3120"/>
                  <a:gd name="T116" fmla="*/ 2376 w 3735"/>
                  <a:gd name="T117" fmla="*/ 376 h 3120"/>
                  <a:gd name="T118" fmla="*/ 2455 w 3735"/>
                  <a:gd name="T119" fmla="*/ 350 h 3120"/>
                  <a:gd name="T120" fmla="*/ 2549 w 3735"/>
                  <a:gd name="T121" fmla="*/ 343 h 3120"/>
                  <a:gd name="T122" fmla="*/ 3120 w 3735"/>
                  <a:gd name="T123" fmla="*/ 350 h 3120"/>
                  <a:gd name="T124" fmla="*/ 3381 w 3735"/>
                  <a:gd name="T125" fmla="*/ 362 h 3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5" h="3120">
                    <a:moveTo>
                      <a:pt x="2208" y="54"/>
                    </a:moveTo>
                    <a:lnTo>
                      <a:pt x="2191" y="69"/>
                    </a:lnTo>
                    <a:lnTo>
                      <a:pt x="2158" y="105"/>
                    </a:lnTo>
                    <a:lnTo>
                      <a:pt x="2126" y="153"/>
                    </a:lnTo>
                    <a:lnTo>
                      <a:pt x="2094" y="217"/>
                    </a:lnTo>
                    <a:lnTo>
                      <a:pt x="2040" y="348"/>
                    </a:lnTo>
                    <a:lnTo>
                      <a:pt x="1949" y="618"/>
                    </a:lnTo>
                    <a:lnTo>
                      <a:pt x="1890" y="809"/>
                    </a:lnTo>
                    <a:lnTo>
                      <a:pt x="1777" y="1170"/>
                    </a:lnTo>
                    <a:lnTo>
                      <a:pt x="1743" y="1277"/>
                    </a:lnTo>
                    <a:lnTo>
                      <a:pt x="1649" y="1307"/>
                    </a:lnTo>
                    <a:lnTo>
                      <a:pt x="1331" y="1407"/>
                    </a:lnTo>
                    <a:lnTo>
                      <a:pt x="957" y="1526"/>
                    </a:lnTo>
                    <a:lnTo>
                      <a:pt x="317" y="1735"/>
                    </a:lnTo>
                    <a:lnTo>
                      <a:pt x="173" y="1785"/>
                    </a:lnTo>
                    <a:lnTo>
                      <a:pt x="136" y="1801"/>
                    </a:lnTo>
                    <a:lnTo>
                      <a:pt x="88" y="1831"/>
                    </a:lnTo>
                    <a:lnTo>
                      <a:pt x="65" y="1850"/>
                    </a:lnTo>
                    <a:lnTo>
                      <a:pt x="58" y="1859"/>
                    </a:lnTo>
                    <a:lnTo>
                      <a:pt x="49" y="1873"/>
                    </a:lnTo>
                    <a:lnTo>
                      <a:pt x="34" y="1912"/>
                    </a:lnTo>
                    <a:lnTo>
                      <a:pt x="22" y="1965"/>
                    </a:lnTo>
                    <a:lnTo>
                      <a:pt x="13" y="2031"/>
                    </a:lnTo>
                    <a:lnTo>
                      <a:pt x="3" y="2159"/>
                    </a:lnTo>
                    <a:lnTo>
                      <a:pt x="0" y="2396"/>
                    </a:lnTo>
                    <a:lnTo>
                      <a:pt x="1" y="2549"/>
                    </a:lnTo>
                    <a:lnTo>
                      <a:pt x="4" y="2735"/>
                    </a:lnTo>
                    <a:lnTo>
                      <a:pt x="15" y="2916"/>
                    </a:lnTo>
                    <a:lnTo>
                      <a:pt x="30" y="2996"/>
                    </a:lnTo>
                    <a:lnTo>
                      <a:pt x="49" y="3036"/>
                    </a:lnTo>
                    <a:lnTo>
                      <a:pt x="66" y="3057"/>
                    </a:lnTo>
                    <a:lnTo>
                      <a:pt x="86" y="3072"/>
                    </a:lnTo>
                    <a:lnTo>
                      <a:pt x="111" y="3084"/>
                    </a:lnTo>
                    <a:lnTo>
                      <a:pt x="156" y="3096"/>
                    </a:lnTo>
                    <a:lnTo>
                      <a:pt x="235" y="3105"/>
                    </a:lnTo>
                    <a:lnTo>
                      <a:pt x="285" y="3109"/>
                    </a:lnTo>
                    <a:lnTo>
                      <a:pt x="423" y="3120"/>
                    </a:lnTo>
                    <a:lnTo>
                      <a:pt x="470" y="3005"/>
                    </a:lnTo>
                    <a:lnTo>
                      <a:pt x="486" y="2967"/>
                    </a:lnTo>
                    <a:lnTo>
                      <a:pt x="522" y="2895"/>
                    </a:lnTo>
                    <a:lnTo>
                      <a:pt x="563" y="2829"/>
                    </a:lnTo>
                    <a:lnTo>
                      <a:pt x="609" y="2770"/>
                    </a:lnTo>
                    <a:lnTo>
                      <a:pt x="660" y="2718"/>
                    </a:lnTo>
                    <a:lnTo>
                      <a:pt x="716" y="2671"/>
                    </a:lnTo>
                    <a:lnTo>
                      <a:pt x="778" y="2630"/>
                    </a:lnTo>
                    <a:lnTo>
                      <a:pt x="845" y="2595"/>
                    </a:lnTo>
                    <a:lnTo>
                      <a:pt x="881" y="2580"/>
                    </a:lnTo>
                    <a:lnTo>
                      <a:pt x="907" y="2571"/>
                    </a:lnTo>
                    <a:lnTo>
                      <a:pt x="966" y="2556"/>
                    </a:lnTo>
                    <a:lnTo>
                      <a:pt x="1033" y="2546"/>
                    </a:lnTo>
                    <a:lnTo>
                      <a:pt x="1104" y="2541"/>
                    </a:lnTo>
                    <a:lnTo>
                      <a:pt x="1177" y="2542"/>
                    </a:lnTo>
                    <a:lnTo>
                      <a:pt x="1248" y="2547"/>
                    </a:lnTo>
                    <a:lnTo>
                      <a:pt x="1316" y="2557"/>
                    </a:lnTo>
                    <a:lnTo>
                      <a:pt x="1376" y="2572"/>
                    </a:lnTo>
                    <a:lnTo>
                      <a:pt x="1403" y="2582"/>
                    </a:lnTo>
                    <a:lnTo>
                      <a:pt x="1430" y="2593"/>
                    </a:lnTo>
                    <a:lnTo>
                      <a:pt x="1482" y="2622"/>
                    </a:lnTo>
                    <a:lnTo>
                      <a:pt x="1534" y="2657"/>
                    </a:lnTo>
                    <a:lnTo>
                      <a:pt x="1583" y="2698"/>
                    </a:lnTo>
                    <a:lnTo>
                      <a:pt x="1631" y="2746"/>
                    </a:lnTo>
                    <a:lnTo>
                      <a:pt x="1676" y="2800"/>
                    </a:lnTo>
                    <a:lnTo>
                      <a:pt x="1719" y="2859"/>
                    </a:lnTo>
                    <a:lnTo>
                      <a:pt x="1759" y="2924"/>
                    </a:lnTo>
                    <a:lnTo>
                      <a:pt x="1778" y="2959"/>
                    </a:lnTo>
                    <a:lnTo>
                      <a:pt x="1856" y="3109"/>
                    </a:lnTo>
                    <a:lnTo>
                      <a:pt x="2795" y="3114"/>
                    </a:lnTo>
                    <a:lnTo>
                      <a:pt x="3735" y="3117"/>
                    </a:lnTo>
                    <a:lnTo>
                      <a:pt x="3726" y="1689"/>
                    </a:lnTo>
                    <a:lnTo>
                      <a:pt x="3724" y="1152"/>
                    </a:lnTo>
                    <a:lnTo>
                      <a:pt x="3718" y="629"/>
                    </a:lnTo>
                    <a:lnTo>
                      <a:pt x="3712" y="397"/>
                    </a:lnTo>
                    <a:lnTo>
                      <a:pt x="3703" y="245"/>
                    </a:lnTo>
                    <a:lnTo>
                      <a:pt x="3689" y="152"/>
                    </a:lnTo>
                    <a:lnTo>
                      <a:pt x="3670" y="101"/>
                    </a:lnTo>
                    <a:lnTo>
                      <a:pt x="3643" y="73"/>
                    </a:lnTo>
                    <a:lnTo>
                      <a:pt x="3626" y="60"/>
                    </a:lnTo>
                    <a:lnTo>
                      <a:pt x="3610" y="49"/>
                    </a:lnTo>
                    <a:lnTo>
                      <a:pt x="3566" y="34"/>
                    </a:lnTo>
                    <a:lnTo>
                      <a:pt x="3480" y="24"/>
                    </a:lnTo>
                    <a:lnTo>
                      <a:pt x="3322" y="17"/>
                    </a:lnTo>
                    <a:lnTo>
                      <a:pt x="3201" y="14"/>
                    </a:lnTo>
                    <a:lnTo>
                      <a:pt x="2846" y="5"/>
                    </a:lnTo>
                    <a:lnTo>
                      <a:pt x="2548" y="2"/>
                    </a:lnTo>
                    <a:lnTo>
                      <a:pt x="2273" y="0"/>
                    </a:lnTo>
                    <a:lnTo>
                      <a:pt x="2208" y="54"/>
                    </a:lnTo>
                    <a:close/>
                    <a:moveTo>
                      <a:pt x="3381" y="362"/>
                    </a:moveTo>
                    <a:lnTo>
                      <a:pt x="3386" y="390"/>
                    </a:lnTo>
                    <a:lnTo>
                      <a:pt x="3393" y="617"/>
                    </a:lnTo>
                    <a:lnTo>
                      <a:pt x="3396" y="925"/>
                    </a:lnTo>
                    <a:lnTo>
                      <a:pt x="3393" y="1178"/>
                    </a:lnTo>
                    <a:lnTo>
                      <a:pt x="3390" y="1230"/>
                    </a:lnTo>
                    <a:lnTo>
                      <a:pt x="3386" y="1250"/>
                    </a:lnTo>
                    <a:lnTo>
                      <a:pt x="3378" y="1280"/>
                    </a:lnTo>
                    <a:lnTo>
                      <a:pt x="3365" y="1300"/>
                    </a:lnTo>
                    <a:lnTo>
                      <a:pt x="3347" y="1315"/>
                    </a:lnTo>
                    <a:lnTo>
                      <a:pt x="3335" y="1320"/>
                    </a:lnTo>
                    <a:lnTo>
                      <a:pt x="3319" y="1325"/>
                    </a:lnTo>
                    <a:lnTo>
                      <a:pt x="3234" y="1331"/>
                    </a:lnTo>
                    <a:lnTo>
                      <a:pt x="3004" y="1338"/>
                    </a:lnTo>
                    <a:lnTo>
                      <a:pt x="2773" y="1340"/>
                    </a:lnTo>
                    <a:lnTo>
                      <a:pt x="2564" y="1341"/>
                    </a:lnTo>
                    <a:lnTo>
                      <a:pt x="2363" y="1338"/>
                    </a:lnTo>
                    <a:lnTo>
                      <a:pt x="2276" y="1332"/>
                    </a:lnTo>
                    <a:lnTo>
                      <a:pt x="2222" y="1320"/>
                    </a:lnTo>
                    <a:lnTo>
                      <a:pt x="2200" y="1306"/>
                    </a:lnTo>
                    <a:lnTo>
                      <a:pt x="2191" y="1295"/>
                    </a:lnTo>
                    <a:lnTo>
                      <a:pt x="2185" y="1273"/>
                    </a:lnTo>
                    <a:lnTo>
                      <a:pt x="2187" y="1236"/>
                    </a:lnTo>
                    <a:lnTo>
                      <a:pt x="2190" y="1212"/>
                    </a:lnTo>
                    <a:lnTo>
                      <a:pt x="2198" y="1152"/>
                    </a:lnTo>
                    <a:lnTo>
                      <a:pt x="2236" y="946"/>
                    </a:lnTo>
                    <a:lnTo>
                      <a:pt x="2284" y="705"/>
                    </a:lnTo>
                    <a:lnTo>
                      <a:pt x="2328" y="507"/>
                    </a:lnTo>
                    <a:lnTo>
                      <a:pt x="2341" y="455"/>
                    </a:lnTo>
                    <a:lnTo>
                      <a:pt x="2351" y="423"/>
                    </a:lnTo>
                    <a:lnTo>
                      <a:pt x="2365" y="391"/>
                    </a:lnTo>
                    <a:lnTo>
                      <a:pt x="2376" y="376"/>
                    </a:lnTo>
                    <a:lnTo>
                      <a:pt x="2400" y="361"/>
                    </a:lnTo>
                    <a:lnTo>
                      <a:pt x="2455" y="350"/>
                    </a:lnTo>
                    <a:lnTo>
                      <a:pt x="2498" y="345"/>
                    </a:lnTo>
                    <a:lnTo>
                      <a:pt x="2549" y="343"/>
                    </a:lnTo>
                    <a:lnTo>
                      <a:pt x="2805" y="344"/>
                    </a:lnTo>
                    <a:lnTo>
                      <a:pt x="3120" y="350"/>
                    </a:lnTo>
                    <a:lnTo>
                      <a:pt x="3352" y="358"/>
                    </a:lnTo>
                    <a:lnTo>
                      <a:pt x="3381" y="362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 9"/>
              <p:cNvSpPr>
                <a:spLocks noEditPoints="1"/>
              </p:cNvSpPr>
              <p:nvPr/>
            </p:nvSpPr>
            <p:spPr bwMode="auto">
              <a:xfrm>
                <a:off x="497" y="2640"/>
                <a:ext cx="452" cy="445"/>
              </a:xfrm>
              <a:custGeom>
                <a:avLst/>
                <a:gdLst>
                  <a:gd name="T0" fmla="*/ 318 w 1023"/>
                  <a:gd name="T1" fmla="*/ 21 h 1008"/>
                  <a:gd name="T2" fmla="*/ 238 w 1023"/>
                  <a:gd name="T3" fmla="*/ 61 h 1008"/>
                  <a:gd name="T4" fmla="*/ 145 w 1023"/>
                  <a:gd name="T5" fmla="*/ 141 h 1008"/>
                  <a:gd name="T6" fmla="*/ 69 w 1023"/>
                  <a:gd name="T7" fmla="*/ 246 h 1008"/>
                  <a:gd name="T8" fmla="*/ 39 w 1023"/>
                  <a:gd name="T9" fmla="*/ 303 h 1008"/>
                  <a:gd name="T10" fmla="*/ 5 w 1023"/>
                  <a:gd name="T11" fmla="*/ 406 h 1008"/>
                  <a:gd name="T12" fmla="*/ 0 w 1023"/>
                  <a:gd name="T13" fmla="*/ 493 h 1008"/>
                  <a:gd name="T14" fmla="*/ 9 w 1023"/>
                  <a:gd name="T15" fmla="*/ 594 h 1008"/>
                  <a:gd name="T16" fmla="*/ 51 w 1023"/>
                  <a:gd name="T17" fmla="*/ 718 h 1008"/>
                  <a:gd name="T18" fmla="*/ 121 w 1023"/>
                  <a:gd name="T19" fmla="*/ 823 h 1008"/>
                  <a:gd name="T20" fmla="*/ 213 w 1023"/>
                  <a:gd name="T21" fmla="*/ 908 h 1008"/>
                  <a:gd name="T22" fmla="*/ 322 w 1023"/>
                  <a:gd name="T23" fmla="*/ 969 h 1008"/>
                  <a:gd name="T24" fmla="*/ 443 w 1023"/>
                  <a:gd name="T25" fmla="*/ 1002 h 1008"/>
                  <a:gd name="T26" fmla="*/ 570 w 1023"/>
                  <a:gd name="T27" fmla="*/ 1005 h 1008"/>
                  <a:gd name="T28" fmla="*/ 697 w 1023"/>
                  <a:gd name="T29" fmla="*/ 972 h 1008"/>
                  <a:gd name="T30" fmla="*/ 760 w 1023"/>
                  <a:gd name="T31" fmla="*/ 941 h 1008"/>
                  <a:gd name="T32" fmla="*/ 874 w 1023"/>
                  <a:gd name="T33" fmla="*/ 850 h 1008"/>
                  <a:gd name="T34" fmla="*/ 959 w 1023"/>
                  <a:gd name="T35" fmla="*/ 732 h 1008"/>
                  <a:gd name="T36" fmla="*/ 1011 w 1023"/>
                  <a:gd name="T37" fmla="*/ 597 h 1008"/>
                  <a:gd name="T38" fmla="*/ 1023 w 1023"/>
                  <a:gd name="T39" fmla="*/ 491 h 1008"/>
                  <a:gd name="T40" fmla="*/ 1010 w 1023"/>
                  <a:gd name="T41" fmla="*/ 396 h 1008"/>
                  <a:gd name="T42" fmla="*/ 955 w 1023"/>
                  <a:gd name="T43" fmla="*/ 265 h 1008"/>
                  <a:gd name="T44" fmla="*/ 869 w 1023"/>
                  <a:gd name="T45" fmla="*/ 144 h 1008"/>
                  <a:gd name="T46" fmla="*/ 764 w 1023"/>
                  <a:gd name="T47" fmla="*/ 52 h 1008"/>
                  <a:gd name="T48" fmla="*/ 723 w 1023"/>
                  <a:gd name="T49" fmla="*/ 30 h 1008"/>
                  <a:gd name="T50" fmla="*/ 607 w 1023"/>
                  <a:gd name="T51" fmla="*/ 6 h 1008"/>
                  <a:gd name="T52" fmla="*/ 403 w 1023"/>
                  <a:gd name="T53" fmla="*/ 3 h 1008"/>
                  <a:gd name="T54" fmla="*/ 338 w 1023"/>
                  <a:gd name="T55" fmla="*/ 14 h 1008"/>
                  <a:gd name="T56" fmla="*/ 581 w 1023"/>
                  <a:gd name="T57" fmla="*/ 345 h 1008"/>
                  <a:gd name="T58" fmla="*/ 646 w 1023"/>
                  <a:gd name="T59" fmla="*/ 393 h 1008"/>
                  <a:gd name="T60" fmla="*/ 685 w 1023"/>
                  <a:gd name="T61" fmla="*/ 452 h 1008"/>
                  <a:gd name="T62" fmla="*/ 696 w 1023"/>
                  <a:gd name="T63" fmla="*/ 519 h 1008"/>
                  <a:gd name="T64" fmla="*/ 683 w 1023"/>
                  <a:gd name="T65" fmla="*/ 571 h 1008"/>
                  <a:gd name="T66" fmla="*/ 638 w 1023"/>
                  <a:gd name="T67" fmla="*/ 638 h 1008"/>
                  <a:gd name="T68" fmla="*/ 543 w 1023"/>
                  <a:gd name="T69" fmla="*/ 678 h 1008"/>
                  <a:gd name="T70" fmla="*/ 496 w 1023"/>
                  <a:gd name="T71" fmla="*/ 679 h 1008"/>
                  <a:gd name="T72" fmla="*/ 434 w 1023"/>
                  <a:gd name="T73" fmla="*/ 663 h 1008"/>
                  <a:gd name="T74" fmla="*/ 381 w 1023"/>
                  <a:gd name="T75" fmla="*/ 629 h 1008"/>
                  <a:gd name="T76" fmla="*/ 344 w 1023"/>
                  <a:gd name="T77" fmla="*/ 581 h 1008"/>
                  <a:gd name="T78" fmla="*/ 330 w 1023"/>
                  <a:gd name="T79" fmla="*/ 538 h 1008"/>
                  <a:gd name="T80" fmla="*/ 329 w 1023"/>
                  <a:gd name="T81" fmla="*/ 480 h 1008"/>
                  <a:gd name="T82" fmla="*/ 357 w 1023"/>
                  <a:gd name="T83" fmla="*/ 405 h 1008"/>
                  <a:gd name="T84" fmla="*/ 407 w 1023"/>
                  <a:gd name="T85" fmla="*/ 345 h 1008"/>
                  <a:gd name="T86" fmla="*/ 470 w 1023"/>
                  <a:gd name="T87" fmla="*/ 314 h 1008"/>
                  <a:gd name="T88" fmla="*/ 498 w 1023"/>
                  <a:gd name="T89" fmla="*/ 314 h 1008"/>
                  <a:gd name="T90" fmla="*/ 561 w 1023"/>
                  <a:gd name="T91" fmla="*/ 336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23" h="1008">
                    <a:moveTo>
                      <a:pt x="338" y="14"/>
                    </a:moveTo>
                    <a:lnTo>
                      <a:pt x="318" y="21"/>
                    </a:lnTo>
                    <a:lnTo>
                      <a:pt x="278" y="38"/>
                    </a:lnTo>
                    <a:lnTo>
                      <a:pt x="238" y="61"/>
                    </a:lnTo>
                    <a:lnTo>
                      <a:pt x="200" y="90"/>
                    </a:lnTo>
                    <a:lnTo>
                      <a:pt x="145" y="141"/>
                    </a:lnTo>
                    <a:lnTo>
                      <a:pt x="97" y="202"/>
                    </a:lnTo>
                    <a:lnTo>
                      <a:pt x="69" y="246"/>
                    </a:lnTo>
                    <a:lnTo>
                      <a:pt x="56" y="269"/>
                    </a:lnTo>
                    <a:lnTo>
                      <a:pt x="39" y="303"/>
                    </a:lnTo>
                    <a:lnTo>
                      <a:pt x="17" y="357"/>
                    </a:lnTo>
                    <a:lnTo>
                      <a:pt x="5" y="406"/>
                    </a:lnTo>
                    <a:lnTo>
                      <a:pt x="0" y="459"/>
                    </a:lnTo>
                    <a:lnTo>
                      <a:pt x="0" y="493"/>
                    </a:lnTo>
                    <a:lnTo>
                      <a:pt x="0" y="527"/>
                    </a:lnTo>
                    <a:lnTo>
                      <a:pt x="9" y="594"/>
                    </a:lnTo>
                    <a:lnTo>
                      <a:pt x="27" y="658"/>
                    </a:lnTo>
                    <a:lnTo>
                      <a:pt x="51" y="718"/>
                    </a:lnTo>
                    <a:lnTo>
                      <a:pt x="83" y="773"/>
                    </a:lnTo>
                    <a:lnTo>
                      <a:pt x="121" y="823"/>
                    </a:lnTo>
                    <a:lnTo>
                      <a:pt x="165" y="869"/>
                    </a:lnTo>
                    <a:lnTo>
                      <a:pt x="213" y="908"/>
                    </a:lnTo>
                    <a:lnTo>
                      <a:pt x="266" y="942"/>
                    </a:lnTo>
                    <a:lnTo>
                      <a:pt x="322" y="969"/>
                    </a:lnTo>
                    <a:lnTo>
                      <a:pt x="382" y="990"/>
                    </a:lnTo>
                    <a:lnTo>
                      <a:pt x="443" y="1002"/>
                    </a:lnTo>
                    <a:lnTo>
                      <a:pt x="506" y="1008"/>
                    </a:lnTo>
                    <a:lnTo>
                      <a:pt x="570" y="1005"/>
                    </a:lnTo>
                    <a:lnTo>
                      <a:pt x="633" y="993"/>
                    </a:lnTo>
                    <a:lnTo>
                      <a:pt x="697" y="972"/>
                    </a:lnTo>
                    <a:lnTo>
                      <a:pt x="728" y="958"/>
                    </a:lnTo>
                    <a:lnTo>
                      <a:pt x="760" y="941"/>
                    </a:lnTo>
                    <a:lnTo>
                      <a:pt x="820" y="899"/>
                    </a:lnTo>
                    <a:lnTo>
                      <a:pt x="874" y="850"/>
                    </a:lnTo>
                    <a:lnTo>
                      <a:pt x="920" y="793"/>
                    </a:lnTo>
                    <a:lnTo>
                      <a:pt x="959" y="732"/>
                    </a:lnTo>
                    <a:lnTo>
                      <a:pt x="990" y="666"/>
                    </a:lnTo>
                    <a:lnTo>
                      <a:pt x="1011" y="597"/>
                    </a:lnTo>
                    <a:lnTo>
                      <a:pt x="1022" y="527"/>
                    </a:lnTo>
                    <a:lnTo>
                      <a:pt x="1023" y="491"/>
                    </a:lnTo>
                    <a:lnTo>
                      <a:pt x="1022" y="461"/>
                    </a:lnTo>
                    <a:lnTo>
                      <a:pt x="1010" y="396"/>
                    </a:lnTo>
                    <a:lnTo>
                      <a:pt x="987" y="330"/>
                    </a:lnTo>
                    <a:lnTo>
                      <a:pt x="955" y="265"/>
                    </a:lnTo>
                    <a:lnTo>
                      <a:pt x="915" y="202"/>
                    </a:lnTo>
                    <a:lnTo>
                      <a:pt x="869" y="144"/>
                    </a:lnTo>
                    <a:lnTo>
                      <a:pt x="819" y="93"/>
                    </a:lnTo>
                    <a:lnTo>
                      <a:pt x="764" y="52"/>
                    </a:lnTo>
                    <a:lnTo>
                      <a:pt x="736" y="36"/>
                    </a:lnTo>
                    <a:lnTo>
                      <a:pt x="723" y="30"/>
                    </a:lnTo>
                    <a:lnTo>
                      <a:pt x="684" y="19"/>
                    </a:lnTo>
                    <a:lnTo>
                      <a:pt x="607" y="6"/>
                    </a:lnTo>
                    <a:lnTo>
                      <a:pt x="487" y="0"/>
                    </a:lnTo>
                    <a:lnTo>
                      <a:pt x="403" y="3"/>
                    </a:lnTo>
                    <a:lnTo>
                      <a:pt x="356" y="10"/>
                    </a:lnTo>
                    <a:lnTo>
                      <a:pt x="338" y="14"/>
                    </a:lnTo>
                    <a:close/>
                    <a:moveTo>
                      <a:pt x="561" y="336"/>
                    </a:moveTo>
                    <a:lnTo>
                      <a:pt x="581" y="345"/>
                    </a:lnTo>
                    <a:lnTo>
                      <a:pt x="617" y="367"/>
                    </a:lnTo>
                    <a:lnTo>
                      <a:pt x="646" y="393"/>
                    </a:lnTo>
                    <a:lnTo>
                      <a:pt x="669" y="421"/>
                    </a:lnTo>
                    <a:lnTo>
                      <a:pt x="685" y="452"/>
                    </a:lnTo>
                    <a:lnTo>
                      <a:pt x="694" y="485"/>
                    </a:lnTo>
                    <a:lnTo>
                      <a:pt x="696" y="519"/>
                    </a:lnTo>
                    <a:lnTo>
                      <a:pt x="689" y="554"/>
                    </a:lnTo>
                    <a:lnTo>
                      <a:pt x="683" y="571"/>
                    </a:lnTo>
                    <a:lnTo>
                      <a:pt x="670" y="597"/>
                    </a:lnTo>
                    <a:lnTo>
                      <a:pt x="638" y="638"/>
                    </a:lnTo>
                    <a:lnTo>
                      <a:pt x="595" y="665"/>
                    </a:lnTo>
                    <a:lnTo>
                      <a:pt x="543" y="678"/>
                    </a:lnTo>
                    <a:lnTo>
                      <a:pt x="513" y="679"/>
                    </a:lnTo>
                    <a:lnTo>
                      <a:pt x="496" y="679"/>
                    </a:lnTo>
                    <a:lnTo>
                      <a:pt x="464" y="673"/>
                    </a:lnTo>
                    <a:lnTo>
                      <a:pt x="434" y="663"/>
                    </a:lnTo>
                    <a:lnTo>
                      <a:pt x="406" y="648"/>
                    </a:lnTo>
                    <a:lnTo>
                      <a:pt x="381" y="629"/>
                    </a:lnTo>
                    <a:lnTo>
                      <a:pt x="361" y="606"/>
                    </a:lnTo>
                    <a:lnTo>
                      <a:pt x="344" y="581"/>
                    </a:lnTo>
                    <a:lnTo>
                      <a:pt x="333" y="553"/>
                    </a:lnTo>
                    <a:lnTo>
                      <a:pt x="330" y="538"/>
                    </a:lnTo>
                    <a:lnTo>
                      <a:pt x="327" y="519"/>
                    </a:lnTo>
                    <a:lnTo>
                      <a:pt x="329" y="480"/>
                    </a:lnTo>
                    <a:lnTo>
                      <a:pt x="340" y="441"/>
                    </a:lnTo>
                    <a:lnTo>
                      <a:pt x="357" y="405"/>
                    </a:lnTo>
                    <a:lnTo>
                      <a:pt x="380" y="372"/>
                    </a:lnTo>
                    <a:lnTo>
                      <a:pt x="407" y="345"/>
                    </a:lnTo>
                    <a:lnTo>
                      <a:pt x="437" y="325"/>
                    </a:lnTo>
                    <a:lnTo>
                      <a:pt x="470" y="314"/>
                    </a:lnTo>
                    <a:lnTo>
                      <a:pt x="486" y="313"/>
                    </a:lnTo>
                    <a:lnTo>
                      <a:pt x="498" y="314"/>
                    </a:lnTo>
                    <a:lnTo>
                      <a:pt x="538" y="326"/>
                    </a:lnTo>
                    <a:lnTo>
                      <a:pt x="561" y="3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 10"/>
              <p:cNvSpPr>
                <a:spLocks noEditPoints="1"/>
              </p:cNvSpPr>
              <p:nvPr/>
            </p:nvSpPr>
            <p:spPr bwMode="auto">
              <a:xfrm>
                <a:off x="2216" y="2639"/>
                <a:ext cx="439" cy="444"/>
              </a:xfrm>
              <a:custGeom>
                <a:avLst/>
                <a:gdLst>
                  <a:gd name="T0" fmla="*/ 260 w 995"/>
                  <a:gd name="T1" fmla="*/ 51 h 1008"/>
                  <a:gd name="T2" fmla="*/ 114 w 995"/>
                  <a:gd name="T3" fmla="*/ 173 h 1008"/>
                  <a:gd name="T4" fmla="*/ 39 w 995"/>
                  <a:gd name="T5" fmla="*/ 280 h 1008"/>
                  <a:gd name="T6" fmla="*/ 15 w 995"/>
                  <a:gd name="T7" fmla="*/ 352 h 1008"/>
                  <a:gd name="T8" fmla="*/ 0 w 995"/>
                  <a:gd name="T9" fmla="*/ 469 h 1008"/>
                  <a:gd name="T10" fmla="*/ 5 w 995"/>
                  <a:gd name="T11" fmla="*/ 591 h 1008"/>
                  <a:gd name="T12" fmla="*/ 30 w 995"/>
                  <a:gd name="T13" fmla="*/ 697 h 1008"/>
                  <a:gd name="T14" fmla="*/ 54 w 995"/>
                  <a:gd name="T15" fmla="*/ 747 h 1008"/>
                  <a:gd name="T16" fmla="*/ 127 w 995"/>
                  <a:gd name="T17" fmla="*/ 847 h 1008"/>
                  <a:gd name="T18" fmla="*/ 219 w 995"/>
                  <a:gd name="T19" fmla="*/ 923 h 1008"/>
                  <a:gd name="T20" fmla="*/ 324 w 995"/>
                  <a:gd name="T21" fmla="*/ 976 h 1008"/>
                  <a:gd name="T22" fmla="*/ 437 w 995"/>
                  <a:gd name="T23" fmla="*/ 1004 h 1008"/>
                  <a:gd name="T24" fmla="*/ 554 w 995"/>
                  <a:gd name="T25" fmla="*/ 1006 h 1008"/>
                  <a:gd name="T26" fmla="*/ 668 w 995"/>
                  <a:gd name="T27" fmla="*/ 981 h 1008"/>
                  <a:gd name="T28" fmla="*/ 775 w 995"/>
                  <a:gd name="T29" fmla="*/ 929 h 1008"/>
                  <a:gd name="T30" fmla="*/ 848 w 995"/>
                  <a:gd name="T31" fmla="*/ 870 h 1008"/>
                  <a:gd name="T32" fmla="*/ 934 w 995"/>
                  <a:gd name="T33" fmla="*/ 769 h 1008"/>
                  <a:gd name="T34" fmla="*/ 967 w 995"/>
                  <a:gd name="T35" fmla="*/ 714 h 1008"/>
                  <a:gd name="T36" fmla="*/ 992 w 995"/>
                  <a:gd name="T37" fmla="*/ 629 h 1008"/>
                  <a:gd name="T38" fmla="*/ 994 w 995"/>
                  <a:gd name="T39" fmla="*/ 522 h 1008"/>
                  <a:gd name="T40" fmla="*/ 983 w 995"/>
                  <a:gd name="T41" fmla="*/ 350 h 1008"/>
                  <a:gd name="T42" fmla="*/ 971 w 995"/>
                  <a:gd name="T43" fmla="*/ 301 h 1008"/>
                  <a:gd name="T44" fmla="*/ 921 w 995"/>
                  <a:gd name="T45" fmla="*/ 213 h 1008"/>
                  <a:gd name="T46" fmla="*/ 781 w 995"/>
                  <a:gd name="T47" fmla="*/ 82 h 1008"/>
                  <a:gd name="T48" fmla="*/ 718 w 995"/>
                  <a:gd name="T49" fmla="*/ 47 h 1008"/>
                  <a:gd name="T50" fmla="*/ 607 w 995"/>
                  <a:gd name="T51" fmla="*/ 13 h 1008"/>
                  <a:gd name="T52" fmla="*/ 484 w 995"/>
                  <a:gd name="T53" fmla="*/ 0 h 1008"/>
                  <a:gd name="T54" fmla="*/ 368 w 995"/>
                  <a:gd name="T55" fmla="*/ 9 h 1008"/>
                  <a:gd name="T56" fmla="*/ 298 w 995"/>
                  <a:gd name="T57" fmla="*/ 32 h 1008"/>
                  <a:gd name="T58" fmla="*/ 601 w 995"/>
                  <a:gd name="T59" fmla="*/ 347 h 1008"/>
                  <a:gd name="T60" fmla="*/ 653 w 995"/>
                  <a:gd name="T61" fmla="*/ 401 h 1008"/>
                  <a:gd name="T62" fmla="*/ 674 w 995"/>
                  <a:gd name="T63" fmla="*/ 442 h 1008"/>
                  <a:gd name="T64" fmla="*/ 685 w 995"/>
                  <a:gd name="T65" fmla="*/ 503 h 1008"/>
                  <a:gd name="T66" fmla="*/ 674 w 995"/>
                  <a:gd name="T67" fmla="*/ 564 h 1008"/>
                  <a:gd name="T68" fmla="*/ 643 w 995"/>
                  <a:gd name="T69" fmla="*/ 620 h 1008"/>
                  <a:gd name="T70" fmla="*/ 606 w 995"/>
                  <a:gd name="T71" fmla="*/ 658 h 1008"/>
                  <a:gd name="T72" fmla="*/ 562 w 995"/>
                  <a:gd name="T73" fmla="*/ 686 h 1008"/>
                  <a:gd name="T74" fmla="*/ 501 w 995"/>
                  <a:gd name="T75" fmla="*/ 698 h 1008"/>
                  <a:gd name="T76" fmla="*/ 438 w 995"/>
                  <a:gd name="T77" fmla="*/ 683 h 1008"/>
                  <a:gd name="T78" fmla="*/ 379 w 995"/>
                  <a:gd name="T79" fmla="*/ 641 h 1008"/>
                  <a:gd name="T80" fmla="*/ 352 w 995"/>
                  <a:gd name="T81" fmla="*/ 612 h 1008"/>
                  <a:gd name="T82" fmla="*/ 318 w 995"/>
                  <a:gd name="T83" fmla="*/ 555 h 1008"/>
                  <a:gd name="T84" fmla="*/ 309 w 995"/>
                  <a:gd name="T85" fmla="*/ 499 h 1008"/>
                  <a:gd name="T86" fmla="*/ 325 w 995"/>
                  <a:gd name="T87" fmla="*/ 442 h 1008"/>
                  <a:gd name="T88" fmla="*/ 354 w 995"/>
                  <a:gd name="T89" fmla="*/ 400 h 1008"/>
                  <a:gd name="T90" fmla="*/ 395 w 995"/>
                  <a:gd name="T91" fmla="*/ 360 h 1008"/>
                  <a:gd name="T92" fmla="*/ 452 w 995"/>
                  <a:gd name="T93" fmla="*/ 327 h 1008"/>
                  <a:gd name="T94" fmla="*/ 512 w 995"/>
                  <a:gd name="T95" fmla="*/ 318 h 1008"/>
                  <a:gd name="T96" fmla="*/ 575 w 995"/>
                  <a:gd name="T97" fmla="*/ 334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95" h="1008">
                    <a:moveTo>
                      <a:pt x="298" y="32"/>
                    </a:moveTo>
                    <a:lnTo>
                      <a:pt x="260" y="51"/>
                    </a:lnTo>
                    <a:lnTo>
                      <a:pt x="184" y="105"/>
                    </a:lnTo>
                    <a:lnTo>
                      <a:pt x="114" y="173"/>
                    </a:lnTo>
                    <a:lnTo>
                      <a:pt x="58" y="245"/>
                    </a:lnTo>
                    <a:lnTo>
                      <a:pt x="39" y="280"/>
                    </a:lnTo>
                    <a:lnTo>
                      <a:pt x="30" y="302"/>
                    </a:lnTo>
                    <a:lnTo>
                      <a:pt x="15" y="352"/>
                    </a:lnTo>
                    <a:lnTo>
                      <a:pt x="5" y="409"/>
                    </a:lnTo>
                    <a:lnTo>
                      <a:pt x="0" y="469"/>
                    </a:lnTo>
                    <a:lnTo>
                      <a:pt x="0" y="530"/>
                    </a:lnTo>
                    <a:lnTo>
                      <a:pt x="5" y="591"/>
                    </a:lnTo>
                    <a:lnTo>
                      <a:pt x="15" y="647"/>
                    </a:lnTo>
                    <a:lnTo>
                      <a:pt x="30" y="697"/>
                    </a:lnTo>
                    <a:lnTo>
                      <a:pt x="39" y="718"/>
                    </a:lnTo>
                    <a:lnTo>
                      <a:pt x="54" y="747"/>
                    </a:lnTo>
                    <a:lnTo>
                      <a:pt x="88" y="800"/>
                    </a:lnTo>
                    <a:lnTo>
                      <a:pt x="127" y="847"/>
                    </a:lnTo>
                    <a:lnTo>
                      <a:pt x="171" y="888"/>
                    </a:lnTo>
                    <a:lnTo>
                      <a:pt x="219" y="923"/>
                    </a:lnTo>
                    <a:lnTo>
                      <a:pt x="270" y="953"/>
                    </a:lnTo>
                    <a:lnTo>
                      <a:pt x="324" y="976"/>
                    </a:lnTo>
                    <a:lnTo>
                      <a:pt x="380" y="993"/>
                    </a:lnTo>
                    <a:lnTo>
                      <a:pt x="437" y="1004"/>
                    </a:lnTo>
                    <a:lnTo>
                      <a:pt x="495" y="1008"/>
                    </a:lnTo>
                    <a:lnTo>
                      <a:pt x="554" y="1006"/>
                    </a:lnTo>
                    <a:lnTo>
                      <a:pt x="611" y="997"/>
                    </a:lnTo>
                    <a:lnTo>
                      <a:pt x="668" y="981"/>
                    </a:lnTo>
                    <a:lnTo>
                      <a:pt x="723" y="958"/>
                    </a:lnTo>
                    <a:lnTo>
                      <a:pt x="775" y="929"/>
                    </a:lnTo>
                    <a:lnTo>
                      <a:pt x="825" y="892"/>
                    </a:lnTo>
                    <a:lnTo>
                      <a:pt x="848" y="870"/>
                    </a:lnTo>
                    <a:lnTo>
                      <a:pt x="876" y="842"/>
                    </a:lnTo>
                    <a:lnTo>
                      <a:pt x="934" y="769"/>
                    </a:lnTo>
                    <a:lnTo>
                      <a:pt x="954" y="737"/>
                    </a:lnTo>
                    <a:lnTo>
                      <a:pt x="967" y="714"/>
                    </a:lnTo>
                    <a:lnTo>
                      <a:pt x="984" y="674"/>
                    </a:lnTo>
                    <a:lnTo>
                      <a:pt x="992" y="629"/>
                    </a:lnTo>
                    <a:lnTo>
                      <a:pt x="995" y="565"/>
                    </a:lnTo>
                    <a:lnTo>
                      <a:pt x="994" y="522"/>
                    </a:lnTo>
                    <a:lnTo>
                      <a:pt x="993" y="462"/>
                    </a:lnTo>
                    <a:lnTo>
                      <a:pt x="983" y="350"/>
                    </a:lnTo>
                    <a:lnTo>
                      <a:pt x="976" y="317"/>
                    </a:lnTo>
                    <a:lnTo>
                      <a:pt x="971" y="301"/>
                    </a:lnTo>
                    <a:lnTo>
                      <a:pt x="955" y="266"/>
                    </a:lnTo>
                    <a:lnTo>
                      <a:pt x="921" y="213"/>
                    </a:lnTo>
                    <a:lnTo>
                      <a:pt x="857" y="144"/>
                    </a:lnTo>
                    <a:lnTo>
                      <a:pt x="781" y="82"/>
                    </a:lnTo>
                    <a:lnTo>
                      <a:pt x="741" y="58"/>
                    </a:lnTo>
                    <a:lnTo>
                      <a:pt x="718" y="47"/>
                    </a:lnTo>
                    <a:lnTo>
                      <a:pt x="665" y="27"/>
                    </a:lnTo>
                    <a:lnTo>
                      <a:pt x="607" y="13"/>
                    </a:lnTo>
                    <a:lnTo>
                      <a:pt x="546" y="4"/>
                    </a:lnTo>
                    <a:lnTo>
                      <a:pt x="484" y="0"/>
                    </a:lnTo>
                    <a:lnTo>
                      <a:pt x="424" y="2"/>
                    </a:lnTo>
                    <a:lnTo>
                      <a:pt x="368" y="9"/>
                    </a:lnTo>
                    <a:lnTo>
                      <a:pt x="319" y="22"/>
                    </a:lnTo>
                    <a:lnTo>
                      <a:pt x="298" y="32"/>
                    </a:lnTo>
                    <a:close/>
                    <a:moveTo>
                      <a:pt x="591" y="342"/>
                    </a:moveTo>
                    <a:lnTo>
                      <a:pt x="601" y="347"/>
                    </a:lnTo>
                    <a:lnTo>
                      <a:pt x="623" y="365"/>
                    </a:lnTo>
                    <a:lnTo>
                      <a:pt x="653" y="401"/>
                    </a:lnTo>
                    <a:lnTo>
                      <a:pt x="668" y="427"/>
                    </a:lnTo>
                    <a:lnTo>
                      <a:pt x="674" y="442"/>
                    </a:lnTo>
                    <a:lnTo>
                      <a:pt x="682" y="472"/>
                    </a:lnTo>
                    <a:lnTo>
                      <a:pt x="685" y="503"/>
                    </a:lnTo>
                    <a:lnTo>
                      <a:pt x="682" y="534"/>
                    </a:lnTo>
                    <a:lnTo>
                      <a:pt x="674" y="564"/>
                    </a:lnTo>
                    <a:lnTo>
                      <a:pt x="661" y="593"/>
                    </a:lnTo>
                    <a:lnTo>
                      <a:pt x="643" y="620"/>
                    </a:lnTo>
                    <a:lnTo>
                      <a:pt x="620" y="646"/>
                    </a:lnTo>
                    <a:lnTo>
                      <a:pt x="606" y="658"/>
                    </a:lnTo>
                    <a:lnTo>
                      <a:pt x="592" y="670"/>
                    </a:lnTo>
                    <a:lnTo>
                      <a:pt x="562" y="686"/>
                    </a:lnTo>
                    <a:lnTo>
                      <a:pt x="532" y="696"/>
                    </a:lnTo>
                    <a:lnTo>
                      <a:pt x="501" y="698"/>
                    </a:lnTo>
                    <a:lnTo>
                      <a:pt x="470" y="694"/>
                    </a:lnTo>
                    <a:lnTo>
                      <a:pt x="438" y="683"/>
                    </a:lnTo>
                    <a:lnTo>
                      <a:pt x="408" y="666"/>
                    </a:lnTo>
                    <a:lnTo>
                      <a:pt x="379" y="641"/>
                    </a:lnTo>
                    <a:lnTo>
                      <a:pt x="364" y="627"/>
                    </a:lnTo>
                    <a:lnTo>
                      <a:pt x="352" y="612"/>
                    </a:lnTo>
                    <a:lnTo>
                      <a:pt x="332" y="584"/>
                    </a:lnTo>
                    <a:lnTo>
                      <a:pt x="318" y="555"/>
                    </a:lnTo>
                    <a:lnTo>
                      <a:pt x="310" y="527"/>
                    </a:lnTo>
                    <a:lnTo>
                      <a:pt x="309" y="499"/>
                    </a:lnTo>
                    <a:lnTo>
                      <a:pt x="314" y="470"/>
                    </a:lnTo>
                    <a:lnTo>
                      <a:pt x="325" y="442"/>
                    </a:lnTo>
                    <a:lnTo>
                      <a:pt x="343" y="414"/>
                    </a:lnTo>
                    <a:lnTo>
                      <a:pt x="354" y="400"/>
                    </a:lnTo>
                    <a:lnTo>
                      <a:pt x="368" y="385"/>
                    </a:lnTo>
                    <a:lnTo>
                      <a:pt x="395" y="360"/>
                    </a:lnTo>
                    <a:lnTo>
                      <a:pt x="423" y="340"/>
                    </a:lnTo>
                    <a:lnTo>
                      <a:pt x="452" y="327"/>
                    </a:lnTo>
                    <a:lnTo>
                      <a:pt x="481" y="320"/>
                    </a:lnTo>
                    <a:lnTo>
                      <a:pt x="512" y="318"/>
                    </a:lnTo>
                    <a:lnTo>
                      <a:pt x="543" y="323"/>
                    </a:lnTo>
                    <a:lnTo>
                      <a:pt x="575" y="334"/>
                    </a:lnTo>
                    <a:lnTo>
                      <a:pt x="591" y="34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 11"/>
              <p:cNvSpPr>
                <a:spLocks noEditPoints="1"/>
              </p:cNvSpPr>
              <p:nvPr/>
            </p:nvSpPr>
            <p:spPr bwMode="auto">
              <a:xfrm>
                <a:off x="2949" y="2640"/>
                <a:ext cx="452" cy="445"/>
              </a:xfrm>
              <a:custGeom>
                <a:avLst/>
                <a:gdLst>
                  <a:gd name="T0" fmla="*/ 309 w 1024"/>
                  <a:gd name="T1" fmla="*/ 31 h 1011"/>
                  <a:gd name="T2" fmla="*/ 207 w 1024"/>
                  <a:gd name="T3" fmla="*/ 96 h 1011"/>
                  <a:gd name="T4" fmla="*/ 121 w 1024"/>
                  <a:gd name="T5" fmla="*/ 189 h 1011"/>
                  <a:gd name="T6" fmla="*/ 54 w 1024"/>
                  <a:gd name="T7" fmla="*/ 304 h 1011"/>
                  <a:gd name="T8" fmla="*/ 20 w 1024"/>
                  <a:gd name="T9" fmla="*/ 400 h 1011"/>
                  <a:gd name="T10" fmla="*/ 2 w 1024"/>
                  <a:gd name="T11" fmla="*/ 485 h 1011"/>
                  <a:gd name="T12" fmla="*/ 7 w 1024"/>
                  <a:gd name="T13" fmla="*/ 575 h 1011"/>
                  <a:gd name="T14" fmla="*/ 22 w 1024"/>
                  <a:gd name="T15" fmla="*/ 637 h 1011"/>
                  <a:gd name="T16" fmla="*/ 80 w 1024"/>
                  <a:gd name="T17" fmla="*/ 764 h 1011"/>
                  <a:gd name="T18" fmla="*/ 171 w 1024"/>
                  <a:gd name="T19" fmla="*/ 870 h 1011"/>
                  <a:gd name="T20" fmla="*/ 290 w 1024"/>
                  <a:gd name="T21" fmla="*/ 951 h 1011"/>
                  <a:gd name="T22" fmla="*/ 395 w 1024"/>
                  <a:gd name="T23" fmla="*/ 991 h 1011"/>
                  <a:gd name="T24" fmla="*/ 468 w 1024"/>
                  <a:gd name="T25" fmla="*/ 1007 h 1011"/>
                  <a:gd name="T26" fmla="*/ 564 w 1024"/>
                  <a:gd name="T27" fmla="*/ 1009 h 1011"/>
                  <a:gd name="T28" fmla="*/ 722 w 1024"/>
                  <a:gd name="T29" fmla="*/ 969 h 1011"/>
                  <a:gd name="T30" fmla="*/ 876 w 1024"/>
                  <a:gd name="T31" fmla="*/ 860 h 1011"/>
                  <a:gd name="T32" fmla="*/ 973 w 1024"/>
                  <a:gd name="T33" fmla="*/ 718 h 1011"/>
                  <a:gd name="T34" fmla="*/ 1000 w 1024"/>
                  <a:gd name="T35" fmla="*/ 645 h 1011"/>
                  <a:gd name="T36" fmla="*/ 1021 w 1024"/>
                  <a:gd name="T37" fmla="*/ 550 h 1011"/>
                  <a:gd name="T38" fmla="*/ 1021 w 1024"/>
                  <a:gd name="T39" fmla="*/ 429 h 1011"/>
                  <a:gd name="T40" fmla="*/ 994 w 1024"/>
                  <a:gd name="T41" fmla="*/ 316 h 1011"/>
                  <a:gd name="T42" fmla="*/ 942 w 1024"/>
                  <a:gd name="T43" fmla="*/ 216 h 1011"/>
                  <a:gd name="T44" fmla="*/ 868 w 1024"/>
                  <a:gd name="T45" fmla="*/ 130 h 1011"/>
                  <a:gd name="T46" fmla="*/ 773 w 1024"/>
                  <a:gd name="T47" fmla="*/ 64 h 1011"/>
                  <a:gd name="T48" fmla="*/ 662 w 1024"/>
                  <a:gd name="T49" fmla="*/ 19 h 1011"/>
                  <a:gd name="T50" fmla="*/ 535 w 1024"/>
                  <a:gd name="T51" fmla="*/ 0 h 1011"/>
                  <a:gd name="T52" fmla="*/ 454 w 1024"/>
                  <a:gd name="T53" fmla="*/ 1 h 1011"/>
                  <a:gd name="T54" fmla="*/ 337 w 1024"/>
                  <a:gd name="T55" fmla="*/ 20 h 1011"/>
                  <a:gd name="T56" fmla="*/ 616 w 1024"/>
                  <a:gd name="T57" fmla="*/ 351 h 1011"/>
                  <a:gd name="T58" fmla="*/ 687 w 1024"/>
                  <a:gd name="T59" fmla="*/ 432 h 1011"/>
                  <a:gd name="T60" fmla="*/ 695 w 1024"/>
                  <a:gd name="T61" fmla="*/ 534 h 1011"/>
                  <a:gd name="T62" fmla="*/ 642 w 1024"/>
                  <a:gd name="T63" fmla="*/ 630 h 1011"/>
                  <a:gd name="T64" fmla="*/ 563 w 1024"/>
                  <a:gd name="T65" fmla="*/ 681 h 1011"/>
                  <a:gd name="T66" fmla="*/ 523 w 1024"/>
                  <a:gd name="T67" fmla="*/ 691 h 1011"/>
                  <a:gd name="T68" fmla="*/ 470 w 1024"/>
                  <a:gd name="T69" fmla="*/ 684 h 1011"/>
                  <a:gd name="T70" fmla="*/ 390 w 1024"/>
                  <a:gd name="T71" fmla="*/ 630 h 1011"/>
                  <a:gd name="T72" fmla="*/ 338 w 1024"/>
                  <a:gd name="T73" fmla="*/ 527 h 1011"/>
                  <a:gd name="T74" fmla="*/ 337 w 1024"/>
                  <a:gd name="T75" fmla="*/ 456 h 1011"/>
                  <a:gd name="T76" fmla="*/ 358 w 1024"/>
                  <a:gd name="T77" fmla="*/ 403 h 1011"/>
                  <a:gd name="T78" fmla="*/ 378 w 1024"/>
                  <a:gd name="T79" fmla="*/ 377 h 1011"/>
                  <a:gd name="T80" fmla="*/ 426 w 1024"/>
                  <a:gd name="T81" fmla="*/ 337 h 1011"/>
                  <a:gd name="T82" fmla="*/ 479 w 1024"/>
                  <a:gd name="T83" fmla="*/ 319 h 1011"/>
                  <a:gd name="T84" fmla="*/ 554 w 1024"/>
                  <a:gd name="T85" fmla="*/ 325 h 10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24" h="1011">
                    <a:moveTo>
                      <a:pt x="337" y="20"/>
                    </a:moveTo>
                    <a:lnTo>
                      <a:pt x="309" y="31"/>
                    </a:lnTo>
                    <a:lnTo>
                      <a:pt x="257" y="60"/>
                    </a:lnTo>
                    <a:lnTo>
                      <a:pt x="207" y="96"/>
                    </a:lnTo>
                    <a:lnTo>
                      <a:pt x="162" y="140"/>
                    </a:lnTo>
                    <a:lnTo>
                      <a:pt x="121" y="189"/>
                    </a:lnTo>
                    <a:lnTo>
                      <a:pt x="84" y="244"/>
                    </a:lnTo>
                    <a:lnTo>
                      <a:pt x="54" y="304"/>
                    </a:lnTo>
                    <a:lnTo>
                      <a:pt x="29" y="367"/>
                    </a:lnTo>
                    <a:lnTo>
                      <a:pt x="20" y="400"/>
                    </a:lnTo>
                    <a:lnTo>
                      <a:pt x="11" y="433"/>
                    </a:lnTo>
                    <a:lnTo>
                      <a:pt x="2" y="485"/>
                    </a:lnTo>
                    <a:lnTo>
                      <a:pt x="0" y="528"/>
                    </a:lnTo>
                    <a:lnTo>
                      <a:pt x="7" y="575"/>
                    </a:lnTo>
                    <a:lnTo>
                      <a:pt x="13" y="603"/>
                    </a:lnTo>
                    <a:lnTo>
                      <a:pt x="22" y="637"/>
                    </a:lnTo>
                    <a:lnTo>
                      <a:pt x="47" y="703"/>
                    </a:lnTo>
                    <a:lnTo>
                      <a:pt x="80" y="764"/>
                    </a:lnTo>
                    <a:lnTo>
                      <a:pt x="122" y="820"/>
                    </a:lnTo>
                    <a:lnTo>
                      <a:pt x="171" y="870"/>
                    </a:lnTo>
                    <a:lnTo>
                      <a:pt x="227" y="914"/>
                    </a:lnTo>
                    <a:lnTo>
                      <a:pt x="290" y="951"/>
                    </a:lnTo>
                    <a:lnTo>
                      <a:pt x="359" y="980"/>
                    </a:lnTo>
                    <a:lnTo>
                      <a:pt x="395" y="991"/>
                    </a:lnTo>
                    <a:lnTo>
                      <a:pt x="419" y="998"/>
                    </a:lnTo>
                    <a:lnTo>
                      <a:pt x="468" y="1007"/>
                    </a:lnTo>
                    <a:lnTo>
                      <a:pt x="516" y="1011"/>
                    </a:lnTo>
                    <a:lnTo>
                      <a:pt x="564" y="1009"/>
                    </a:lnTo>
                    <a:lnTo>
                      <a:pt x="634" y="999"/>
                    </a:lnTo>
                    <a:lnTo>
                      <a:pt x="722" y="969"/>
                    </a:lnTo>
                    <a:lnTo>
                      <a:pt x="804" y="923"/>
                    </a:lnTo>
                    <a:lnTo>
                      <a:pt x="876" y="860"/>
                    </a:lnTo>
                    <a:lnTo>
                      <a:pt x="937" y="784"/>
                    </a:lnTo>
                    <a:lnTo>
                      <a:pt x="973" y="718"/>
                    </a:lnTo>
                    <a:lnTo>
                      <a:pt x="992" y="670"/>
                    </a:lnTo>
                    <a:lnTo>
                      <a:pt x="1000" y="645"/>
                    </a:lnTo>
                    <a:lnTo>
                      <a:pt x="1009" y="613"/>
                    </a:lnTo>
                    <a:lnTo>
                      <a:pt x="1021" y="550"/>
                    </a:lnTo>
                    <a:lnTo>
                      <a:pt x="1024" y="489"/>
                    </a:lnTo>
                    <a:lnTo>
                      <a:pt x="1021" y="429"/>
                    </a:lnTo>
                    <a:lnTo>
                      <a:pt x="1011" y="371"/>
                    </a:lnTo>
                    <a:lnTo>
                      <a:pt x="994" y="316"/>
                    </a:lnTo>
                    <a:lnTo>
                      <a:pt x="971" y="264"/>
                    </a:lnTo>
                    <a:lnTo>
                      <a:pt x="942" y="216"/>
                    </a:lnTo>
                    <a:lnTo>
                      <a:pt x="907" y="171"/>
                    </a:lnTo>
                    <a:lnTo>
                      <a:pt x="868" y="130"/>
                    </a:lnTo>
                    <a:lnTo>
                      <a:pt x="823" y="94"/>
                    </a:lnTo>
                    <a:lnTo>
                      <a:pt x="773" y="64"/>
                    </a:lnTo>
                    <a:lnTo>
                      <a:pt x="719" y="38"/>
                    </a:lnTo>
                    <a:lnTo>
                      <a:pt x="662" y="19"/>
                    </a:lnTo>
                    <a:lnTo>
                      <a:pt x="600" y="6"/>
                    </a:lnTo>
                    <a:lnTo>
                      <a:pt x="535" y="0"/>
                    </a:lnTo>
                    <a:lnTo>
                      <a:pt x="502" y="0"/>
                    </a:lnTo>
                    <a:lnTo>
                      <a:pt x="454" y="1"/>
                    </a:lnTo>
                    <a:lnTo>
                      <a:pt x="365" y="12"/>
                    </a:lnTo>
                    <a:lnTo>
                      <a:pt x="337" y="20"/>
                    </a:lnTo>
                    <a:close/>
                    <a:moveTo>
                      <a:pt x="588" y="338"/>
                    </a:moveTo>
                    <a:lnTo>
                      <a:pt x="616" y="351"/>
                    </a:lnTo>
                    <a:lnTo>
                      <a:pt x="659" y="388"/>
                    </a:lnTo>
                    <a:lnTo>
                      <a:pt x="687" y="432"/>
                    </a:lnTo>
                    <a:lnTo>
                      <a:pt x="698" y="482"/>
                    </a:lnTo>
                    <a:lnTo>
                      <a:pt x="695" y="534"/>
                    </a:lnTo>
                    <a:lnTo>
                      <a:pt x="676" y="585"/>
                    </a:lnTo>
                    <a:lnTo>
                      <a:pt x="642" y="630"/>
                    </a:lnTo>
                    <a:lnTo>
                      <a:pt x="594" y="667"/>
                    </a:lnTo>
                    <a:lnTo>
                      <a:pt x="563" y="681"/>
                    </a:lnTo>
                    <a:lnTo>
                      <a:pt x="550" y="686"/>
                    </a:lnTo>
                    <a:lnTo>
                      <a:pt x="523" y="691"/>
                    </a:lnTo>
                    <a:lnTo>
                      <a:pt x="496" y="690"/>
                    </a:lnTo>
                    <a:lnTo>
                      <a:pt x="470" y="684"/>
                    </a:lnTo>
                    <a:lnTo>
                      <a:pt x="433" y="667"/>
                    </a:lnTo>
                    <a:lnTo>
                      <a:pt x="390" y="630"/>
                    </a:lnTo>
                    <a:lnTo>
                      <a:pt x="358" y="582"/>
                    </a:lnTo>
                    <a:lnTo>
                      <a:pt x="338" y="527"/>
                    </a:lnTo>
                    <a:lnTo>
                      <a:pt x="334" y="484"/>
                    </a:lnTo>
                    <a:lnTo>
                      <a:pt x="337" y="456"/>
                    </a:lnTo>
                    <a:lnTo>
                      <a:pt x="345" y="429"/>
                    </a:lnTo>
                    <a:lnTo>
                      <a:pt x="358" y="403"/>
                    </a:lnTo>
                    <a:lnTo>
                      <a:pt x="367" y="391"/>
                    </a:lnTo>
                    <a:lnTo>
                      <a:pt x="378" y="377"/>
                    </a:lnTo>
                    <a:lnTo>
                      <a:pt x="401" y="354"/>
                    </a:lnTo>
                    <a:lnTo>
                      <a:pt x="426" y="337"/>
                    </a:lnTo>
                    <a:lnTo>
                      <a:pt x="452" y="325"/>
                    </a:lnTo>
                    <a:lnTo>
                      <a:pt x="479" y="319"/>
                    </a:lnTo>
                    <a:lnTo>
                      <a:pt x="508" y="318"/>
                    </a:lnTo>
                    <a:lnTo>
                      <a:pt x="554" y="325"/>
                    </a:lnTo>
                    <a:lnTo>
                      <a:pt x="588" y="33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 12"/>
              <p:cNvSpPr>
                <a:spLocks noEditPoints="1"/>
              </p:cNvSpPr>
              <p:nvPr/>
            </p:nvSpPr>
            <p:spPr bwMode="auto">
              <a:xfrm>
                <a:off x="4585" y="2639"/>
                <a:ext cx="447" cy="445"/>
              </a:xfrm>
              <a:custGeom>
                <a:avLst/>
                <a:gdLst>
                  <a:gd name="T0" fmla="*/ 318 w 1014"/>
                  <a:gd name="T1" fmla="*/ 26 h 1010"/>
                  <a:gd name="T2" fmla="*/ 226 w 1014"/>
                  <a:gd name="T3" fmla="*/ 72 h 1010"/>
                  <a:gd name="T4" fmla="*/ 145 w 1014"/>
                  <a:gd name="T5" fmla="*/ 139 h 1010"/>
                  <a:gd name="T6" fmla="*/ 77 w 1014"/>
                  <a:gd name="T7" fmla="*/ 221 h 1010"/>
                  <a:gd name="T8" fmla="*/ 39 w 1014"/>
                  <a:gd name="T9" fmla="*/ 292 h 1010"/>
                  <a:gd name="T10" fmla="*/ 15 w 1014"/>
                  <a:gd name="T11" fmla="*/ 362 h 1010"/>
                  <a:gd name="T12" fmla="*/ 0 w 1014"/>
                  <a:gd name="T13" fmla="*/ 470 h 1010"/>
                  <a:gd name="T14" fmla="*/ 4 w 1014"/>
                  <a:gd name="T15" fmla="*/ 582 h 1010"/>
                  <a:gd name="T16" fmla="*/ 26 w 1014"/>
                  <a:gd name="T17" fmla="*/ 681 h 1010"/>
                  <a:gd name="T18" fmla="*/ 48 w 1014"/>
                  <a:gd name="T19" fmla="*/ 728 h 1010"/>
                  <a:gd name="T20" fmla="*/ 109 w 1014"/>
                  <a:gd name="T21" fmla="*/ 821 h 1010"/>
                  <a:gd name="T22" fmla="*/ 186 w 1014"/>
                  <a:gd name="T23" fmla="*/ 896 h 1010"/>
                  <a:gd name="T24" fmla="*/ 276 w 1014"/>
                  <a:gd name="T25" fmla="*/ 954 h 1010"/>
                  <a:gd name="T26" fmla="*/ 374 w 1014"/>
                  <a:gd name="T27" fmla="*/ 992 h 1010"/>
                  <a:gd name="T28" fmla="*/ 478 w 1014"/>
                  <a:gd name="T29" fmla="*/ 1010 h 1010"/>
                  <a:gd name="T30" fmla="*/ 585 w 1014"/>
                  <a:gd name="T31" fmla="*/ 1005 h 1010"/>
                  <a:gd name="T32" fmla="*/ 690 w 1014"/>
                  <a:gd name="T33" fmla="*/ 978 h 1010"/>
                  <a:gd name="T34" fmla="*/ 765 w 1014"/>
                  <a:gd name="T35" fmla="*/ 942 h 1010"/>
                  <a:gd name="T36" fmla="*/ 872 w 1014"/>
                  <a:gd name="T37" fmla="*/ 857 h 1010"/>
                  <a:gd name="T38" fmla="*/ 971 w 1014"/>
                  <a:gd name="T39" fmla="*/ 705 h 1010"/>
                  <a:gd name="T40" fmla="*/ 1014 w 1014"/>
                  <a:gd name="T41" fmla="*/ 530 h 1010"/>
                  <a:gd name="T42" fmla="*/ 995 w 1014"/>
                  <a:gd name="T43" fmla="*/ 354 h 1010"/>
                  <a:gd name="T44" fmla="*/ 958 w 1014"/>
                  <a:gd name="T45" fmla="*/ 273 h 1010"/>
                  <a:gd name="T46" fmla="*/ 830 w 1014"/>
                  <a:gd name="T47" fmla="*/ 117 h 1010"/>
                  <a:gd name="T48" fmla="*/ 734 w 1014"/>
                  <a:gd name="T49" fmla="*/ 49 h 1010"/>
                  <a:gd name="T50" fmla="*/ 698 w 1014"/>
                  <a:gd name="T51" fmla="*/ 32 h 1010"/>
                  <a:gd name="T52" fmla="*/ 587 w 1014"/>
                  <a:gd name="T53" fmla="*/ 6 h 1010"/>
                  <a:gd name="T54" fmla="*/ 385 w 1014"/>
                  <a:gd name="T55" fmla="*/ 8 h 1010"/>
                  <a:gd name="T56" fmla="*/ 580 w 1014"/>
                  <a:gd name="T57" fmla="*/ 340 h 1010"/>
                  <a:gd name="T58" fmla="*/ 650 w 1014"/>
                  <a:gd name="T59" fmla="*/ 387 h 1010"/>
                  <a:gd name="T60" fmla="*/ 691 w 1014"/>
                  <a:gd name="T61" fmla="*/ 477 h 1010"/>
                  <a:gd name="T62" fmla="*/ 674 w 1014"/>
                  <a:gd name="T63" fmla="*/ 576 h 1010"/>
                  <a:gd name="T64" fmla="*/ 600 w 1014"/>
                  <a:gd name="T65" fmla="*/ 661 h 1010"/>
                  <a:gd name="T66" fmla="*/ 552 w 1014"/>
                  <a:gd name="T67" fmla="*/ 685 h 1010"/>
                  <a:gd name="T68" fmla="*/ 469 w 1014"/>
                  <a:gd name="T69" fmla="*/ 685 h 1010"/>
                  <a:gd name="T70" fmla="*/ 391 w 1014"/>
                  <a:gd name="T71" fmla="*/ 642 h 1010"/>
                  <a:gd name="T72" fmla="*/ 337 w 1014"/>
                  <a:gd name="T73" fmla="*/ 570 h 1010"/>
                  <a:gd name="T74" fmla="*/ 324 w 1014"/>
                  <a:gd name="T75" fmla="*/ 503 h 1010"/>
                  <a:gd name="T76" fmla="*/ 336 w 1014"/>
                  <a:gd name="T77" fmla="*/ 428 h 1010"/>
                  <a:gd name="T78" fmla="*/ 383 w 1014"/>
                  <a:gd name="T79" fmla="*/ 356 h 1010"/>
                  <a:gd name="T80" fmla="*/ 459 w 1014"/>
                  <a:gd name="T81" fmla="*/ 322 h 1010"/>
                  <a:gd name="T82" fmla="*/ 554 w 1014"/>
                  <a:gd name="T83" fmla="*/ 330 h 10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14" h="1010">
                    <a:moveTo>
                      <a:pt x="342" y="18"/>
                    </a:moveTo>
                    <a:lnTo>
                      <a:pt x="318" y="26"/>
                    </a:lnTo>
                    <a:lnTo>
                      <a:pt x="271" y="46"/>
                    </a:lnTo>
                    <a:lnTo>
                      <a:pt x="226" y="72"/>
                    </a:lnTo>
                    <a:lnTo>
                      <a:pt x="184" y="103"/>
                    </a:lnTo>
                    <a:lnTo>
                      <a:pt x="145" y="139"/>
                    </a:lnTo>
                    <a:lnTo>
                      <a:pt x="109" y="178"/>
                    </a:lnTo>
                    <a:lnTo>
                      <a:pt x="77" y="221"/>
                    </a:lnTo>
                    <a:lnTo>
                      <a:pt x="50" y="267"/>
                    </a:lnTo>
                    <a:lnTo>
                      <a:pt x="39" y="292"/>
                    </a:lnTo>
                    <a:lnTo>
                      <a:pt x="30" y="314"/>
                    </a:lnTo>
                    <a:lnTo>
                      <a:pt x="15" y="362"/>
                    </a:lnTo>
                    <a:lnTo>
                      <a:pt x="5" y="415"/>
                    </a:lnTo>
                    <a:lnTo>
                      <a:pt x="0" y="470"/>
                    </a:lnTo>
                    <a:lnTo>
                      <a:pt x="0" y="527"/>
                    </a:lnTo>
                    <a:lnTo>
                      <a:pt x="4" y="582"/>
                    </a:lnTo>
                    <a:lnTo>
                      <a:pt x="13" y="634"/>
                    </a:lnTo>
                    <a:lnTo>
                      <a:pt x="26" y="681"/>
                    </a:lnTo>
                    <a:lnTo>
                      <a:pt x="35" y="702"/>
                    </a:lnTo>
                    <a:lnTo>
                      <a:pt x="48" y="728"/>
                    </a:lnTo>
                    <a:lnTo>
                      <a:pt x="76" y="776"/>
                    </a:lnTo>
                    <a:lnTo>
                      <a:pt x="109" y="821"/>
                    </a:lnTo>
                    <a:lnTo>
                      <a:pt x="146" y="861"/>
                    </a:lnTo>
                    <a:lnTo>
                      <a:pt x="186" y="896"/>
                    </a:lnTo>
                    <a:lnTo>
                      <a:pt x="230" y="927"/>
                    </a:lnTo>
                    <a:lnTo>
                      <a:pt x="276" y="954"/>
                    </a:lnTo>
                    <a:lnTo>
                      <a:pt x="324" y="975"/>
                    </a:lnTo>
                    <a:lnTo>
                      <a:pt x="374" y="992"/>
                    </a:lnTo>
                    <a:lnTo>
                      <a:pt x="426" y="1003"/>
                    </a:lnTo>
                    <a:lnTo>
                      <a:pt x="478" y="1010"/>
                    </a:lnTo>
                    <a:lnTo>
                      <a:pt x="531" y="1010"/>
                    </a:lnTo>
                    <a:lnTo>
                      <a:pt x="585" y="1005"/>
                    </a:lnTo>
                    <a:lnTo>
                      <a:pt x="637" y="995"/>
                    </a:lnTo>
                    <a:lnTo>
                      <a:pt x="690" y="978"/>
                    </a:lnTo>
                    <a:lnTo>
                      <a:pt x="740" y="956"/>
                    </a:lnTo>
                    <a:lnTo>
                      <a:pt x="765" y="942"/>
                    </a:lnTo>
                    <a:lnTo>
                      <a:pt x="804" y="918"/>
                    </a:lnTo>
                    <a:lnTo>
                      <a:pt x="872" y="857"/>
                    </a:lnTo>
                    <a:lnTo>
                      <a:pt x="928" y="786"/>
                    </a:lnTo>
                    <a:lnTo>
                      <a:pt x="971" y="705"/>
                    </a:lnTo>
                    <a:lnTo>
                      <a:pt x="1000" y="619"/>
                    </a:lnTo>
                    <a:lnTo>
                      <a:pt x="1014" y="530"/>
                    </a:lnTo>
                    <a:lnTo>
                      <a:pt x="1013" y="441"/>
                    </a:lnTo>
                    <a:lnTo>
                      <a:pt x="995" y="354"/>
                    </a:lnTo>
                    <a:lnTo>
                      <a:pt x="979" y="313"/>
                    </a:lnTo>
                    <a:lnTo>
                      <a:pt x="958" y="273"/>
                    </a:lnTo>
                    <a:lnTo>
                      <a:pt x="901" y="192"/>
                    </a:lnTo>
                    <a:lnTo>
                      <a:pt x="830" y="117"/>
                    </a:lnTo>
                    <a:lnTo>
                      <a:pt x="773" y="73"/>
                    </a:lnTo>
                    <a:lnTo>
                      <a:pt x="734" y="49"/>
                    </a:lnTo>
                    <a:lnTo>
                      <a:pt x="715" y="40"/>
                    </a:lnTo>
                    <a:lnTo>
                      <a:pt x="698" y="32"/>
                    </a:lnTo>
                    <a:lnTo>
                      <a:pt x="657" y="19"/>
                    </a:lnTo>
                    <a:lnTo>
                      <a:pt x="587" y="6"/>
                    </a:lnTo>
                    <a:lnTo>
                      <a:pt x="485" y="0"/>
                    </a:lnTo>
                    <a:lnTo>
                      <a:pt x="385" y="8"/>
                    </a:lnTo>
                    <a:lnTo>
                      <a:pt x="342" y="18"/>
                    </a:lnTo>
                    <a:close/>
                    <a:moveTo>
                      <a:pt x="580" y="340"/>
                    </a:moveTo>
                    <a:lnTo>
                      <a:pt x="608" y="353"/>
                    </a:lnTo>
                    <a:lnTo>
                      <a:pt x="650" y="387"/>
                    </a:lnTo>
                    <a:lnTo>
                      <a:pt x="677" y="430"/>
                    </a:lnTo>
                    <a:lnTo>
                      <a:pt x="691" y="477"/>
                    </a:lnTo>
                    <a:lnTo>
                      <a:pt x="689" y="527"/>
                    </a:lnTo>
                    <a:lnTo>
                      <a:pt x="674" y="576"/>
                    </a:lnTo>
                    <a:lnTo>
                      <a:pt x="644" y="622"/>
                    </a:lnTo>
                    <a:lnTo>
                      <a:pt x="600" y="661"/>
                    </a:lnTo>
                    <a:lnTo>
                      <a:pt x="572" y="677"/>
                    </a:lnTo>
                    <a:lnTo>
                      <a:pt x="552" y="685"/>
                    </a:lnTo>
                    <a:lnTo>
                      <a:pt x="511" y="691"/>
                    </a:lnTo>
                    <a:lnTo>
                      <a:pt x="469" y="685"/>
                    </a:lnTo>
                    <a:lnTo>
                      <a:pt x="428" y="668"/>
                    </a:lnTo>
                    <a:lnTo>
                      <a:pt x="391" y="642"/>
                    </a:lnTo>
                    <a:lnTo>
                      <a:pt x="360" y="609"/>
                    </a:lnTo>
                    <a:lnTo>
                      <a:pt x="337" y="570"/>
                    </a:lnTo>
                    <a:lnTo>
                      <a:pt x="325" y="526"/>
                    </a:lnTo>
                    <a:lnTo>
                      <a:pt x="324" y="503"/>
                    </a:lnTo>
                    <a:lnTo>
                      <a:pt x="325" y="476"/>
                    </a:lnTo>
                    <a:lnTo>
                      <a:pt x="336" y="428"/>
                    </a:lnTo>
                    <a:lnTo>
                      <a:pt x="355" y="388"/>
                    </a:lnTo>
                    <a:lnTo>
                      <a:pt x="383" y="356"/>
                    </a:lnTo>
                    <a:lnTo>
                      <a:pt x="418" y="334"/>
                    </a:lnTo>
                    <a:lnTo>
                      <a:pt x="459" y="322"/>
                    </a:lnTo>
                    <a:lnTo>
                      <a:pt x="505" y="320"/>
                    </a:lnTo>
                    <a:lnTo>
                      <a:pt x="554" y="330"/>
                    </a:lnTo>
                    <a:lnTo>
                      <a:pt x="580" y="34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 13"/>
              <p:cNvSpPr>
                <a:spLocks noEditPoints="1"/>
              </p:cNvSpPr>
              <p:nvPr/>
            </p:nvSpPr>
            <p:spPr bwMode="auto">
              <a:xfrm>
                <a:off x="5355" y="2641"/>
                <a:ext cx="450" cy="443"/>
              </a:xfrm>
              <a:custGeom>
                <a:avLst/>
                <a:gdLst>
                  <a:gd name="T0" fmla="*/ 321 w 1019"/>
                  <a:gd name="T1" fmla="*/ 17 h 1005"/>
                  <a:gd name="T2" fmla="*/ 234 w 1019"/>
                  <a:gd name="T3" fmla="*/ 73 h 1005"/>
                  <a:gd name="T4" fmla="*/ 92 w 1019"/>
                  <a:gd name="T5" fmla="*/ 218 h 1005"/>
                  <a:gd name="T6" fmla="*/ 54 w 1019"/>
                  <a:gd name="T7" fmla="*/ 281 h 1005"/>
                  <a:gd name="T8" fmla="*/ 13 w 1019"/>
                  <a:gd name="T9" fmla="*/ 392 h 1005"/>
                  <a:gd name="T10" fmla="*/ 0 w 1019"/>
                  <a:gd name="T11" fmla="*/ 506 h 1005"/>
                  <a:gd name="T12" fmla="*/ 15 w 1019"/>
                  <a:gd name="T13" fmla="*/ 617 h 1005"/>
                  <a:gd name="T14" fmla="*/ 54 w 1019"/>
                  <a:gd name="T15" fmla="*/ 722 h 1005"/>
                  <a:gd name="T16" fmla="*/ 117 w 1019"/>
                  <a:gd name="T17" fmla="*/ 816 h 1005"/>
                  <a:gd name="T18" fmla="*/ 201 w 1019"/>
                  <a:gd name="T19" fmla="*/ 896 h 1005"/>
                  <a:gd name="T20" fmla="*/ 305 w 1019"/>
                  <a:gd name="T21" fmla="*/ 957 h 1005"/>
                  <a:gd name="T22" fmla="*/ 394 w 1019"/>
                  <a:gd name="T23" fmla="*/ 988 h 1005"/>
                  <a:gd name="T24" fmla="*/ 529 w 1019"/>
                  <a:gd name="T25" fmla="*/ 1005 h 1005"/>
                  <a:gd name="T26" fmla="*/ 700 w 1019"/>
                  <a:gd name="T27" fmla="*/ 971 h 1005"/>
                  <a:gd name="T28" fmla="*/ 848 w 1019"/>
                  <a:gd name="T29" fmla="*/ 880 h 1005"/>
                  <a:gd name="T30" fmla="*/ 962 w 1019"/>
                  <a:gd name="T31" fmla="*/ 739 h 1005"/>
                  <a:gd name="T32" fmla="*/ 992 w 1019"/>
                  <a:gd name="T33" fmla="*/ 675 h 1005"/>
                  <a:gd name="T34" fmla="*/ 1015 w 1019"/>
                  <a:gd name="T35" fmla="*/ 574 h 1005"/>
                  <a:gd name="T36" fmla="*/ 1018 w 1019"/>
                  <a:gd name="T37" fmla="*/ 462 h 1005"/>
                  <a:gd name="T38" fmla="*/ 1001 w 1019"/>
                  <a:gd name="T39" fmla="*/ 352 h 1005"/>
                  <a:gd name="T40" fmla="*/ 974 w 1019"/>
                  <a:gd name="T41" fmla="*/ 278 h 1005"/>
                  <a:gd name="T42" fmla="*/ 922 w 1019"/>
                  <a:gd name="T43" fmla="*/ 185 h 1005"/>
                  <a:gd name="T44" fmla="*/ 831 w 1019"/>
                  <a:gd name="T45" fmla="*/ 91 h 1005"/>
                  <a:gd name="T46" fmla="*/ 714 w 1019"/>
                  <a:gd name="T47" fmla="*/ 32 h 1005"/>
                  <a:gd name="T48" fmla="*/ 569 w 1019"/>
                  <a:gd name="T49" fmla="*/ 4 h 1005"/>
                  <a:gd name="T50" fmla="*/ 468 w 1019"/>
                  <a:gd name="T51" fmla="*/ 0 h 1005"/>
                  <a:gd name="T52" fmla="*/ 334 w 1019"/>
                  <a:gd name="T53" fmla="*/ 12 h 1005"/>
                  <a:gd name="T54" fmla="*/ 633 w 1019"/>
                  <a:gd name="T55" fmla="*/ 349 h 1005"/>
                  <a:gd name="T56" fmla="*/ 685 w 1019"/>
                  <a:gd name="T57" fmla="*/ 414 h 1005"/>
                  <a:gd name="T58" fmla="*/ 694 w 1019"/>
                  <a:gd name="T59" fmla="*/ 492 h 1005"/>
                  <a:gd name="T60" fmla="*/ 685 w 1019"/>
                  <a:gd name="T61" fmla="*/ 548 h 1005"/>
                  <a:gd name="T62" fmla="*/ 646 w 1019"/>
                  <a:gd name="T63" fmla="*/ 616 h 1005"/>
                  <a:gd name="T64" fmla="*/ 586 w 1019"/>
                  <a:gd name="T65" fmla="*/ 668 h 1005"/>
                  <a:gd name="T66" fmla="*/ 514 w 1019"/>
                  <a:gd name="T67" fmla="*/ 694 h 1005"/>
                  <a:gd name="T68" fmla="*/ 487 w 1019"/>
                  <a:gd name="T69" fmla="*/ 694 h 1005"/>
                  <a:gd name="T70" fmla="*/ 431 w 1019"/>
                  <a:gd name="T71" fmla="*/ 667 h 1005"/>
                  <a:gd name="T72" fmla="*/ 345 w 1019"/>
                  <a:gd name="T73" fmla="*/ 574 h 1005"/>
                  <a:gd name="T74" fmla="*/ 326 w 1019"/>
                  <a:gd name="T75" fmla="*/ 531 h 1005"/>
                  <a:gd name="T76" fmla="*/ 320 w 1019"/>
                  <a:gd name="T77" fmla="*/ 480 h 1005"/>
                  <a:gd name="T78" fmla="*/ 339 w 1019"/>
                  <a:gd name="T79" fmla="*/ 432 h 1005"/>
                  <a:gd name="T80" fmla="*/ 393 w 1019"/>
                  <a:gd name="T81" fmla="*/ 365 h 1005"/>
                  <a:gd name="T82" fmla="*/ 498 w 1019"/>
                  <a:gd name="T83" fmla="*/ 313 h 1005"/>
                  <a:gd name="T84" fmla="*/ 543 w 1019"/>
                  <a:gd name="T85" fmla="*/ 313 h 1005"/>
                  <a:gd name="T86" fmla="*/ 611 w 1019"/>
                  <a:gd name="T87" fmla="*/ 337 h 10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19" h="1005">
                    <a:moveTo>
                      <a:pt x="334" y="12"/>
                    </a:moveTo>
                    <a:lnTo>
                      <a:pt x="321" y="17"/>
                    </a:lnTo>
                    <a:lnTo>
                      <a:pt x="288" y="34"/>
                    </a:lnTo>
                    <a:lnTo>
                      <a:pt x="234" y="73"/>
                    </a:lnTo>
                    <a:lnTo>
                      <a:pt x="157" y="143"/>
                    </a:lnTo>
                    <a:lnTo>
                      <a:pt x="92" y="218"/>
                    </a:lnTo>
                    <a:lnTo>
                      <a:pt x="69" y="253"/>
                    </a:lnTo>
                    <a:lnTo>
                      <a:pt x="54" y="281"/>
                    </a:lnTo>
                    <a:lnTo>
                      <a:pt x="30" y="336"/>
                    </a:lnTo>
                    <a:lnTo>
                      <a:pt x="13" y="392"/>
                    </a:lnTo>
                    <a:lnTo>
                      <a:pt x="3" y="449"/>
                    </a:lnTo>
                    <a:lnTo>
                      <a:pt x="0" y="506"/>
                    </a:lnTo>
                    <a:lnTo>
                      <a:pt x="4" y="562"/>
                    </a:lnTo>
                    <a:lnTo>
                      <a:pt x="15" y="617"/>
                    </a:lnTo>
                    <a:lnTo>
                      <a:pt x="32" y="671"/>
                    </a:lnTo>
                    <a:lnTo>
                      <a:pt x="54" y="722"/>
                    </a:lnTo>
                    <a:lnTo>
                      <a:pt x="83" y="771"/>
                    </a:lnTo>
                    <a:lnTo>
                      <a:pt x="117" y="816"/>
                    </a:lnTo>
                    <a:lnTo>
                      <a:pt x="156" y="858"/>
                    </a:lnTo>
                    <a:lnTo>
                      <a:pt x="201" y="896"/>
                    </a:lnTo>
                    <a:lnTo>
                      <a:pt x="251" y="929"/>
                    </a:lnTo>
                    <a:lnTo>
                      <a:pt x="305" y="957"/>
                    </a:lnTo>
                    <a:lnTo>
                      <a:pt x="363" y="980"/>
                    </a:lnTo>
                    <a:lnTo>
                      <a:pt x="394" y="988"/>
                    </a:lnTo>
                    <a:lnTo>
                      <a:pt x="439" y="998"/>
                    </a:lnTo>
                    <a:lnTo>
                      <a:pt x="529" y="1005"/>
                    </a:lnTo>
                    <a:lnTo>
                      <a:pt x="616" y="995"/>
                    </a:lnTo>
                    <a:lnTo>
                      <a:pt x="700" y="971"/>
                    </a:lnTo>
                    <a:lnTo>
                      <a:pt x="778" y="932"/>
                    </a:lnTo>
                    <a:lnTo>
                      <a:pt x="848" y="880"/>
                    </a:lnTo>
                    <a:lnTo>
                      <a:pt x="910" y="815"/>
                    </a:lnTo>
                    <a:lnTo>
                      <a:pt x="962" y="739"/>
                    </a:lnTo>
                    <a:lnTo>
                      <a:pt x="983" y="697"/>
                    </a:lnTo>
                    <a:lnTo>
                      <a:pt x="992" y="675"/>
                    </a:lnTo>
                    <a:lnTo>
                      <a:pt x="1006" y="627"/>
                    </a:lnTo>
                    <a:lnTo>
                      <a:pt x="1015" y="574"/>
                    </a:lnTo>
                    <a:lnTo>
                      <a:pt x="1019" y="519"/>
                    </a:lnTo>
                    <a:lnTo>
                      <a:pt x="1018" y="462"/>
                    </a:lnTo>
                    <a:lnTo>
                      <a:pt x="1012" y="406"/>
                    </a:lnTo>
                    <a:lnTo>
                      <a:pt x="1001" y="352"/>
                    </a:lnTo>
                    <a:lnTo>
                      <a:pt x="985" y="302"/>
                    </a:lnTo>
                    <a:lnTo>
                      <a:pt x="974" y="278"/>
                    </a:lnTo>
                    <a:lnTo>
                      <a:pt x="958" y="245"/>
                    </a:lnTo>
                    <a:lnTo>
                      <a:pt x="922" y="185"/>
                    </a:lnTo>
                    <a:lnTo>
                      <a:pt x="879" y="134"/>
                    </a:lnTo>
                    <a:lnTo>
                      <a:pt x="831" y="91"/>
                    </a:lnTo>
                    <a:lnTo>
                      <a:pt x="776" y="57"/>
                    </a:lnTo>
                    <a:lnTo>
                      <a:pt x="714" y="32"/>
                    </a:lnTo>
                    <a:lnTo>
                      <a:pt x="646" y="14"/>
                    </a:lnTo>
                    <a:lnTo>
                      <a:pt x="569" y="4"/>
                    </a:lnTo>
                    <a:lnTo>
                      <a:pt x="528" y="2"/>
                    </a:lnTo>
                    <a:lnTo>
                      <a:pt x="468" y="0"/>
                    </a:lnTo>
                    <a:lnTo>
                      <a:pt x="363" y="6"/>
                    </a:lnTo>
                    <a:lnTo>
                      <a:pt x="334" y="12"/>
                    </a:lnTo>
                    <a:close/>
                    <a:moveTo>
                      <a:pt x="611" y="337"/>
                    </a:moveTo>
                    <a:lnTo>
                      <a:pt x="633" y="349"/>
                    </a:lnTo>
                    <a:lnTo>
                      <a:pt x="665" y="377"/>
                    </a:lnTo>
                    <a:lnTo>
                      <a:pt x="685" y="414"/>
                    </a:lnTo>
                    <a:lnTo>
                      <a:pt x="694" y="462"/>
                    </a:lnTo>
                    <a:lnTo>
                      <a:pt x="694" y="492"/>
                    </a:lnTo>
                    <a:lnTo>
                      <a:pt x="694" y="510"/>
                    </a:lnTo>
                    <a:lnTo>
                      <a:pt x="685" y="548"/>
                    </a:lnTo>
                    <a:lnTo>
                      <a:pt x="668" y="583"/>
                    </a:lnTo>
                    <a:lnTo>
                      <a:pt x="646" y="616"/>
                    </a:lnTo>
                    <a:lnTo>
                      <a:pt x="618" y="645"/>
                    </a:lnTo>
                    <a:lnTo>
                      <a:pt x="586" y="668"/>
                    </a:lnTo>
                    <a:lnTo>
                      <a:pt x="551" y="685"/>
                    </a:lnTo>
                    <a:lnTo>
                      <a:pt x="514" y="694"/>
                    </a:lnTo>
                    <a:lnTo>
                      <a:pt x="496" y="695"/>
                    </a:lnTo>
                    <a:lnTo>
                      <a:pt x="487" y="694"/>
                    </a:lnTo>
                    <a:lnTo>
                      <a:pt x="466" y="687"/>
                    </a:lnTo>
                    <a:lnTo>
                      <a:pt x="431" y="667"/>
                    </a:lnTo>
                    <a:lnTo>
                      <a:pt x="384" y="624"/>
                    </a:lnTo>
                    <a:lnTo>
                      <a:pt x="345" y="574"/>
                    </a:lnTo>
                    <a:lnTo>
                      <a:pt x="333" y="548"/>
                    </a:lnTo>
                    <a:lnTo>
                      <a:pt x="326" y="531"/>
                    </a:lnTo>
                    <a:lnTo>
                      <a:pt x="319" y="504"/>
                    </a:lnTo>
                    <a:lnTo>
                      <a:pt x="320" y="480"/>
                    </a:lnTo>
                    <a:lnTo>
                      <a:pt x="330" y="451"/>
                    </a:lnTo>
                    <a:lnTo>
                      <a:pt x="339" y="432"/>
                    </a:lnTo>
                    <a:lnTo>
                      <a:pt x="353" y="408"/>
                    </a:lnTo>
                    <a:lnTo>
                      <a:pt x="393" y="365"/>
                    </a:lnTo>
                    <a:lnTo>
                      <a:pt x="444" y="332"/>
                    </a:lnTo>
                    <a:lnTo>
                      <a:pt x="498" y="313"/>
                    </a:lnTo>
                    <a:lnTo>
                      <a:pt x="524" y="312"/>
                    </a:lnTo>
                    <a:lnTo>
                      <a:pt x="543" y="313"/>
                    </a:lnTo>
                    <a:lnTo>
                      <a:pt x="590" y="327"/>
                    </a:lnTo>
                    <a:lnTo>
                      <a:pt x="611" y="33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6"/>
            <p:cNvGrpSpPr>
              <a:grpSpLocks noChangeAspect="1"/>
            </p:cNvGrpSpPr>
            <p:nvPr/>
          </p:nvGrpSpPr>
          <p:grpSpPr bwMode="auto">
            <a:xfrm>
              <a:off x="6689398" y="4714102"/>
              <a:ext cx="1251019" cy="1310648"/>
              <a:chOff x="2299" y="920"/>
              <a:chExt cx="3105" cy="3253"/>
            </a:xfrm>
          </p:grpSpPr>
          <p:sp>
            <p:nvSpPr>
              <p:cNvPr id="17" name="Freeform 17"/>
              <p:cNvSpPr>
                <a:spLocks noEditPoints="1"/>
              </p:cNvSpPr>
              <p:nvPr/>
            </p:nvSpPr>
            <p:spPr bwMode="auto">
              <a:xfrm>
                <a:off x="2772" y="920"/>
                <a:ext cx="453" cy="311"/>
              </a:xfrm>
              <a:custGeom>
                <a:avLst/>
                <a:gdLst>
                  <a:gd name="T0" fmla="*/ 141 w 411"/>
                  <a:gd name="T1" fmla="*/ 13 h 282"/>
                  <a:gd name="T2" fmla="*/ 120 w 411"/>
                  <a:gd name="T3" fmla="*/ 35 h 282"/>
                  <a:gd name="T4" fmla="*/ 123 w 411"/>
                  <a:gd name="T5" fmla="*/ 78 h 282"/>
                  <a:gd name="T6" fmla="*/ 124 w 411"/>
                  <a:gd name="T7" fmla="*/ 122 h 282"/>
                  <a:gd name="T8" fmla="*/ 105 w 411"/>
                  <a:gd name="T9" fmla="*/ 87 h 282"/>
                  <a:gd name="T10" fmla="*/ 80 w 411"/>
                  <a:gd name="T11" fmla="*/ 65 h 282"/>
                  <a:gd name="T12" fmla="*/ 65 w 411"/>
                  <a:gd name="T13" fmla="*/ 77 h 282"/>
                  <a:gd name="T14" fmla="*/ 20 w 411"/>
                  <a:gd name="T15" fmla="*/ 167 h 282"/>
                  <a:gd name="T16" fmla="*/ 0 w 411"/>
                  <a:gd name="T17" fmla="*/ 243 h 282"/>
                  <a:gd name="T18" fmla="*/ 7 w 411"/>
                  <a:gd name="T19" fmla="*/ 269 h 282"/>
                  <a:gd name="T20" fmla="*/ 48 w 411"/>
                  <a:gd name="T21" fmla="*/ 280 h 282"/>
                  <a:gd name="T22" fmla="*/ 200 w 411"/>
                  <a:gd name="T23" fmla="*/ 282 h 282"/>
                  <a:gd name="T24" fmla="*/ 380 w 411"/>
                  <a:gd name="T25" fmla="*/ 274 h 282"/>
                  <a:gd name="T26" fmla="*/ 410 w 411"/>
                  <a:gd name="T27" fmla="*/ 260 h 282"/>
                  <a:gd name="T28" fmla="*/ 392 w 411"/>
                  <a:gd name="T29" fmla="*/ 191 h 282"/>
                  <a:gd name="T30" fmla="*/ 330 w 411"/>
                  <a:gd name="T31" fmla="*/ 69 h 282"/>
                  <a:gd name="T32" fmla="*/ 315 w 411"/>
                  <a:gd name="T33" fmla="*/ 56 h 282"/>
                  <a:gd name="T34" fmla="*/ 297 w 411"/>
                  <a:gd name="T35" fmla="*/ 69 h 282"/>
                  <a:gd name="T36" fmla="*/ 287 w 411"/>
                  <a:gd name="T37" fmla="*/ 95 h 282"/>
                  <a:gd name="T38" fmla="*/ 267 w 411"/>
                  <a:gd name="T39" fmla="*/ 115 h 282"/>
                  <a:gd name="T40" fmla="*/ 260 w 411"/>
                  <a:gd name="T41" fmla="*/ 108 h 282"/>
                  <a:gd name="T42" fmla="*/ 267 w 411"/>
                  <a:gd name="T43" fmla="*/ 73 h 282"/>
                  <a:gd name="T44" fmla="*/ 275 w 411"/>
                  <a:gd name="T45" fmla="*/ 42 h 282"/>
                  <a:gd name="T46" fmla="*/ 253 w 411"/>
                  <a:gd name="T47" fmla="*/ 20 h 282"/>
                  <a:gd name="T48" fmla="*/ 207 w 411"/>
                  <a:gd name="T49" fmla="*/ 2 h 282"/>
                  <a:gd name="T50" fmla="*/ 183 w 411"/>
                  <a:gd name="T51" fmla="*/ 4 h 282"/>
                  <a:gd name="T52" fmla="*/ 233 w 411"/>
                  <a:gd name="T53" fmla="*/ 173 h 282"/>
                  <a:gd name="T54" fmla="*/ 247 w 411"/>
                  <a:gd name="T55" fmla="*/ 205 h 282"/>
                  <a:gd name="T56" fmla="*/ 238 w 411"/>
                  <a:gd name="T57" fmla="*/ 214 h 282"/>
                  <a:gd name="T58" fmla="*/ 217 w 411"/>
                  <a:gd name="T59" fmla="*/ 198 h 282"/>
                  <a:gd name="T60" fmla="*/ 205 w 411"/>
                  <a:gd name="T61" fmla="*/ 185 h 282"/>
                  <a:gd name="T62" fmla="*/ 177 w 411"/>
                  <a:gd name="T63" fmla="*/ 197 h 282"/>
                  <a:gd name="T64" fmla="*/ 153 w 411"/>
                  <a:gd name="T65" fmla="*/ 209 h 282"/>
                  <a:gd name="T66" fmla="*/ 150 w 411"/>
                  <a:gd name="T67" fmla="*/ 193 h 282"/>
                  <a:gd name="T68" fmla="*/ 158 w 411"/>
                  <a:gd name="T69" fmla="*/ 170 h 282"/>
                  <a:gd name="T70" fmla="*/ 190 w 411"/>
                  <a:gd name="T71" fmla="*/ 152 h 282"/>
                  <a:gd name="T72" fmla="*/ 207 w 411"/>
                  <a:gd name="T73" fmla="*/ 150 h 282"/>
                  <a:gd name="T74" fmla="*/ 233 w 411"/>
                  <a:gd name="T75" fmla="*/ 173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11" h="282">
                    <a:moveTo>
                      <a:pt x="153" y="10"/>
                    </a:moveTo>
                    <a:lnTo>
                      <a:pt x="141" y="13"/>
                    </a:lnTo>
                    <a:lnTo>
                      <a:pt x="126" y="20"/>
                    </a:lnTo>
                    <a:lnTo>
                      <a:pt x="120" y="35"/>
                    </a:lnTo>
                    <a:lnTo>
                      <a:pt x="121" y="60"/>
                    </a:lnTo>
                    <a:lnTo>
                      <a:pt x="123" y="78"/>
                    </a:lnTo>
                    <a:lnTo>
                      <a:pt x="128" y="112"/>
                    </a:lnTo>
                    <a:lnTo>
                      <a:pt x="124" y="122"/>
                    </a:lnTo>
                    <a:lnTo>
                      <a:pt x="113" y="102"/>
                    </a:lnTo>
                    <a:lnTo>
                      <a:pt x="105" y="87"/>
                    </a:lnTo>
                    <a:lnTo>
                      <a:pt x="87" y="67"/>
                    </a:lnTo>
                    <a:lnTo>
                      <a:pt x="80" y="65"/>
                    </a:lnTo>
                    <a:lnTo>
                      <a:pt x="76" y="66"/>
                    </a:lnTo>
                    <a:lnTo>
                      <a:pt x="65" y="77"/>
                    </a:lnTo>
                    <a:lnTo>
                      <a:pt x="46" y="109"/>
                    </a:lnTo>
                    <a:lnTo>
                      <a:pt x="20" y="167"/>
                    </a:lnTo>
                    <a:lnTo>
                      <a:pt x="2" y="224"/>
                    </a:lnTo>
                    <a:lnTo>
                      <a:pt x="0" y="243"/>
                    </a:lnTo>
                    <a:lnTo>
                      <a:pt x="0" y="257"/>
                    </a:lnTo>
                    <a:lnTo>
                      <a:pt x="7" y="269"/>
                    </a:lnTo>
                    <a:lnTo>
                      <a:pt x="17" y="275"/>
                    </a:lnTo>
                    <a:lnTo>
                      <a:pt x="48" y="280"/>
                    </a:lnTo>
                    <a:lnTo>
                      <a:pt x="132" y="282"/>
                    </a:lnTo>
                    <a:lnTo>
                      <a:pt x="200" y="282"/>
                    </a:lnTo>
                    <a:lnTo>
                      <a:pt x="299" y="281"/>
                    </a:lnTo>
                    <a:lnTo>
                      <a:pt x="380" y="274"/>
                    </a:lnTo>
                    <a:lnTo>
                      <a:pt x="406" y="266"/>
                    </a:lnTo>
                    <a:lnTo>
                      <a:pt x="410" y="260"/>
                    </a:lnTo>
                    <a:lnTo>
                      <a:pt x="411" y="247"/>
                    </a:lnTo>
                    <a:lnTo>
                      <a:pt x="392" y="191"/>
                    </a:lnTo>
                    <a:lnTo>
                      <a:pt x="361" y="122"/>
                    </a:lnTo>
                    <a:lnTo>
                      <a:pt x="330" y="69"/>
                    </a:lnTo>
                    <a:lnTo>
                      <a:pt x="318" y="58"/>
                    </a:lnTo>
                    <a:lnTo>
                      <a:pt x="315" y="56"/>
                    </a:lnTo>
                    <a:lnTo>
                      <a:pt x="308" y="58"/>
                    </a:lnTo>
                    <a:lnTo>
                      <a:pt x="297" y="69"/>
                    </a:lnTo>
                    <a:lnTo>
                      <a:pt x="292" y="82"/>
                    </a:lnTo>
                    <a:lnTo>
                      <a:pt x="287" y="95"/>
                    </a:lnTo>
                    <a:lnTo>
                      <a:pt x="273" y="113"/>
                    </a:lnTo>
                    <a:lnTo>
                      <a:pt x="267" y="115"/>
                    </a:lnTo>
                    <a:lnTo>
                      <a:pt x="263" y="114"/>
                    </a:lnTo>
                    <a:lnTo>
                      <a:pt x="260" y="108"/>
                    </a:lnTo>
                    <a:lnTo>
                      <a:pt x="261" y="90"/>
                    </a:lnTo>
                    <a:lnTo>
                      <a:pt x="267" y="73"/>
                    </a:lnTo>
                    <a:lnTo>
                      <a:pt x="272" y="60"/>
                    </a:lnTo>
                    <a:lnTo>
                      <a:pt x="275" y="42"/>
                    </a:lnTo>
                    <a:lnTo>
                      <a:pt x="270" y="30"/>
                    </a:lnTo>
                    <a:lnTo>
                      <a:pt x="253" y="20"/>
                    </a:lnTo>
                    <a:lnTo>
                      <a:pt x="240" y="15"/>
                    </a:lnTo>
                    <a:lnTo>
                      <a:pt x="207" y="2"/>
                    </a:lnTo>
                    <a:lnTo>
                      <a:pt x="195" y="0"/>
                    </a:lnTo>
                    <a:lnTo>
                      <a:pt x="183" y="4"/>
                    </a:lnTo>
                    <a:lnTo>
                      <a:pt x="153" y="10"/>
                    </a:lnTo>
                    <a:close/>
                    <a:moveTo>
                      <a:pt x="233" y="173"/>
                    </a:moveTo>
                    <a:lnTo>
                      <a:pt x="241" y="185"/>
                    </a:lnTo>
                    <a:lnTo>
                      <a:pt x="247" y="205"/>
                    </a:lnTo>
                    <a:lnTo>
                      <a:pt x="243" y="210"/>
                    </a:lnTo>
                    <a:lnTo>
                      <a:pt x="238" y="214"/>
                    </a:lnTo>
                    <a:lnTo>
                      <a:pt x="223" y="207"/>
                    </a:lnTo>
                    <a:lnTo>
                      <a:pt x="217" y="198"/>
                    </a:lnTo>
                    <a:lnTo>
                      <a:pt x="212" y="192"/>
                    </a:lnTo>
                    <a:lnTo>
                      <a:pt x="205" y="185"/>
                    </a:lnTo>
                    <a:lnTo>
                      <a:pt x="191" y="186"/>
                    </a:lnTo>
                    <a:lnTo>
                      <a:pt x="177" y="197"/>
                    </a:lnTo>
                    <a:lnTo>
                      <a:pt x="162" y="208"/>
                    </a:lnTo>
                    <a:lnTo>
                      <a:pt x="153" y="209"/>
                    </a:lnTo>
                    <a:lnTo>
                      <a:pt x="150" y="201"/>
                    </a:lnTo>
                    <a:lnTo>
                      <a:pt x="150" y="193"/>
                    </a:lnTo>
                    <a:lnTo>
                      <a:pt x="151" y="185"/>
                    </a:lnTo>
                    <a:lnTo>
                      <a:pt x="158" y="170"/>
                    </a:lnTo>
                    <a:lnTo>
                      <a:pt x="171" y="159"/>
                    </a:lnTo>
                    <a:lnTo>
                      <a:pt x="190" y="152"/>
                    </a:lnTo>
                    <a:lnTo>
                      <a:pt x="202" y="150"/>
                    </a:lnTo>
                    <a:lnTo>
                      <a:pt x="207" y="150"/>
                    </a:lnTo>
                    <a:lnTo>
                      <a:pt x="224" y="164"/>
                    </a:lnTo>
                    <a:lnTo>
                      <a:pt x="233" y="173"/>
                    </a:ln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18"/>
              <p:cNvSpPr>
                <a:spLocks/>
              </p:cNvSpPr>
              <p:nvPr/>
            </p:nvSpPr>
            <p:spPr bwMode="auto">
              <a:xfrm>
                <a:off x="2808" y="1267"/>
                <a:ext cx="385" cy="182"/>
              </a:xfrm>
              <a:custGeom>
                <a:avLst/>
                <a:gdLst>
                  <a:gd name="T0" fmla="*/ 0 w 349"/>
                  <a:gd name="T1" fmla="*/ 8 h 165"/>
                  <a:gd name="T2" fmla="*/ 7 w 349"/>
                  <a:gd name="T3" fmla="*/ 26 h 165"/>
                  <a:gd name="T4" fmla="*/ 29 w 349"/>
                  <a:gd name="T5" fmla="*/ 63 h 165"/>
                  <a:gd name="T6" fmla="*/ 45 w 349"/>
                  <a:gd name="T7" fmla="*/ 88 h 165"/>
                  <a:gd name="T8" fmla="*/ 80 w 349"/>
                  <a:gd name="T9" fmla="*/ 127 h 165"/>
                  <a:gd name="T10" fmla="*/ 116 w 349"/>
                  <a:gd name="T11" fmla="*/ 153 h 165"/>
                  <a:gd name="T12" fmla="*/ 154 w 349"/>
                  <a:gd name="T13" fmla="*/ 165 h 165"/>
                  <a:gd name="T14" fmla="*/ 191 w 349"/>
                  <a:gd name="T15" fmla="*/ 164 h 165"/>
                  <a:gd name="T16" fmla="*/ 229 w 349"/>
                  <a:gd name="T17" fmla="*/ 151 h 165"/>
                  <a:gd name="T18" fmla="*/ 265 w 349"/>
                  <a:gd name="T19" fmla="*/ 124 h 165"/>
                  <a:gd name="T20" fmla="*/ 299 w 349"/>
                  <a:gd name="T21" fmla="*/ 84 h 165"/>
                  <a:gd name="T22" fmla="*/ 315 w 349"/>
                  <a:gd name="T23" fmla="*/ 58 h 165"/>
                  <a:gd name="T24" fmla="*/ 349 w 349"/>
                  <a:gd name="T25" fmla="*/ 0 h 165"/>
                  <a:gd name="T26" fmla="*/ 175 w 349"/>
                  <a:gd name="T27" fmla="*/ 0 h 165"/>
                  <a:gd name="T28" fmla="*/ 105 w 349"/>
                  <a:gd name="T29" fmla="*/ 0 h 165"/>
                  <a:gd name="T30" fmla="*/ 10 w 349"/>
                  <a:gd name="T31" fmla="*/ 5 h 165"/>
                  <a:gd name="T32" fmla="*/ 0 w 349"/>
                  <a:gd name="T33" fmla="*/ 8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9" h="165">
                    <a:moveTo>
                      <a:pt x="0" y="8"/>
                    </a:moveTo>
                    <a:lnTo>
                      <a:pt x="7" y="26"/>
                    </a:lnTo>
                    <a:lnTo>
                      <a:pt x="29" y="63"/>
                    </a:lnTo>
                    <a:lnTo>
                      <a:pt x="45" y="88"/>
                    </a:lnTo>
                    <a:lnTo>
                      <a:pt x="80" y="127"/>
                    </a:lnTo>
                    <a:lnTo>
                      <a:pt x="116" y="153"/>
                    </a:lnTo>
                    <a:lnTo>
                      <a:pt x="154" y="165"/>
                    </a:lnTo>
                    <a:lnTo>
                      <a:pt x="191" y="164"/>
                    </a:lnTo>
                    <a:lnTo>
                      <a:pt x="229" y="151"/>
                    </a:lnTo>
                    <a:lnTo>
                      <a:pt x="265" y="124"/>
                    </a:lnTo>
                    <a:lnTo>
                      <a:pt x="299" y="84"/>
                    </a:lnTo>
                    <a:lnTo>
                      <a:pt x="315" y="58"/>
                    </a:lnTo>
                    <a:lnTo>
                      <a:pt x="349" y="0"/>
                    </a:lnTo>
                    <a:lnTo>
                      <a:pt x="175" y="0"/>
                    </a:lnTo>
                    <a:lnTo>
                      <a:pt x="105" y="0"/>
                    </a:lnTo>
                    <a:lnTo>
                      <a:pt x="10" y="5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 19"/>
              <p:cNvSpPr>
                <a:spLocks/>
              </p:cNvSpPr>
              <p:nvPr/>
            </p:nvSpPr>
            <p:spPr bwMode="auto">
              <a:xfrm>
                <a:off x="2299" y="1507"/>
                <a:ext cx="501" cy="1055"/>
              </a:xfrm>
              <a:custGeom>
                <a:avLst/>
                <a:gdLst>
                  <a:gd name="T0" fmla="*/ 338 w 454"/>
                  <a:gd name="T1" fmla="*/ 15 h 957"/>
                  <a:gd name="T2" fmla="*/ 248 w 454"/>
                  <a:gd name="T3" fmla="*/ 86 h 957"/>
                  <a:gd name="T4" fmla="*/ 162 w 454"/>
                  <a:gd name="T5" fmla="*/ 214 h 957"/>
                  <a:gd name="T6" fmla="*/ 101 w 454"/>
                  <a:gd name="T7" fmla="*/ 324 h 957"/>
                  <a:gd name="T8" fmla="*/ 79 w 454"/>
                  <a:gd name="T9" fmla="*/ 430 h 957"/>
                  <a:gd name="T10" fmla="*/ 80 w 454"/>
                  <a:gd name="T11" fmla="*/ 519 h 957"/>
                  <a:gd name="T12" fmla="*/ 95 w 454"/>
                  <a:gd name="T13" fmla="*/ 584 h 957"/>
                  <a:gd name="T14" fmla="*/ 111 w 454"/>
                  <a:gd name="T15" fmla="*/ 592 h 957"/>
                  <a:gd name="T16" fmla="*/ 99 w 454"/>
                  <a:gd name="T17" fmla="*/ 612 h 957"/>
                  <a:gd name="T18" fmla="*/ 54 w 454"/>
                  <a:gd name="T19" fmla="*/ 619 h 957"/>
                  <a:gd name="T20" fmla="*/ 13 w 454"/>
                  <a:gd name="T21" fmla="*/ 629 h 957"/>
                  <a:gd name="T22" fmla="*/ 1 w 454"/>
                  <a:gd name="T23" fmla="*/ 642 h 957"/>
                  <a:gd name="T24" fmla="*/ 6 w 454"/>
                  <a:gd name="T25" fmla="*/ 665 h 957"/>
                  <a:gd name="T26" fmla="*/ 77 w 454"/>
                  <a:gd name="T27" fmla="*/ 746 h 957"/>
                  <a:gd name="T28" fmla="*/ 134 w 454"/>
                  <a:gd name="T29" fmla="*/ 781 h 957"/>
                  <a:gd name="T30" fmla="*/ 152 w 454"/>
                  <a:gd name="T31" fmla="*/ 783 h 957"/>
                  <a:gd name="T32" fmla="*/ 217 w 454"/>
                  <a:gd name="T33" fmla="*/ 813 h 957"/>
                  <a:gd name="T34" fmla="*/ 301 w 454"/>
                  <a:gd name="T35" fmla="*/ 888 h 957"/>
                  <a:gd name="T36" fmla="*/ 312 w 454"/>
                  <a:gd name="T37" fmla="*/ 914 h 957"/>
                  <a:gd name="T38" fmla="*/ 332 w 454"/>
                  <a:gd name="T39" fmla="*/ 948 h 957"/>
                  <a:gd name="T40" fmla="*/ 359 w 454"/>
                  <a:gd name="T41" fmla="*/ 957 h 957"/>
                  <a:gd name="T42" fmla="*/ 389 w 454"/>
                  <a:gd name="T43" fmla="*/ 947 h 957"/>
                  <a:gd name="T44" fmla="*/ 377 w 454"/>
                  <a:gd name="T45" fmla="*/ 920 h 957"/>
                  <a:gd name="T46" fmla="*/ 369 w 454"/>
                  <a:gd name="T47" fmla="*/ 902 h 957"/>
                  <a:gd name="T48" fmla="*/ 386 w 454"/>
                  <a:gd name="T49" fmla="*/ 863 h 957"/>
                  <a:gd name="T50" fmla="*/ 415 w 454"/>
                  <a:gd name="T51" fmla="*/ 861 h 957"/>
                  <a:gd name="T52" fmla="*/ 431 w 454"/>
                  <a:gd name="T53" fmla="*/ 873 h 957"/>
                  <a:gd name="T54" fmla="*/ 452 w 454"/>
                  <a:gd name="T55" fmla="*/ 869 h 957"/>
                  <a:gd name="T56" fmla="*/ 453 w 454"/>
                  <a:gd name="T57" fmla="*/ 853 h 957"/>
                  <a:gd name="T58" fmla="*/ 413 w 454"/>
                  <a:gd name="T59" fmla="*/ 813 h 957"/>
                  <a:gd name="T60" fmla="*/ 371 w 454"/>
                  <a:gd name="T61" fmla="*/ 804 h 957"/>
                  <a:gd name="T62" fmla="*/ 347 w 454"/>
                  <a:gd name="T63" fmla="*/ 804 h 957"/>
                  <a:gd name="T64" fmla="*/ 264 w 454"/>
                  <a:gd name="T65" fmla="*/ 765 h 957"/>
                  <a:gd name="T66" fmla="*/ 214 w 454"/>
                  <a:gd name="T67" fmla="*/ 717 h 957"/>
                  <a:gd name="T68" fmla="*/ 207 w 454"/>
                  <a:gd name="T69" fmla="*/ 677 h 957"/>
                  <a:gd name="T70" fmla="*/ 211 w 454"/>
                  <a:gd name="T71" fmla="*/ 539 h 957"/>
                  <a:gd name="T72" fmla="*/ 224 w 454"/>
                  <a:gd name="T73" fmla="*/ 424 h 957"/>
                  <a:gd name="T74" fmla="*/ 262 w 454"/>
                  <a:gd name="T75" fmla="*/ 334 h 957"/>
                  <a:gd name="T76" fmla="*/ 295 w 454"/>
                  <a:gd name="T77" fmla="*/ 288 h 957"/>
                  <a:gd name="T78" fmla="*/ 344 w 454"/>
                  <a:gd name="T79" fmla="*/ 240 h 957"/>
                  <a:gd name="T80" fmla="*/ 382 w 454"/>
                  <a:gd name="T81" fmla="*/ 232 h 957"/>
                  <a:gd name="T82" fmla="*/ 429 w 454"/>
                  <a:gd name="T83" fmla="*/ 115 h 957"/>
                  <a:gd name="T84" fmla="*/ 422 w 454"/>
                  <a:gd name="T85" fmla="*/ 7 h 957"/>
                  <a:gd name="T86" fmla="*/ 397 w 454"/>
                  <a:gd name="T87" fmla="*/ 4 h 9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54" h="957">
                    <a:moveTo>
                      <a:pt x="362" y="10"/>
                    </a:moveTo>
                    <a:lnTo>
                      <a:pt x="338" y="15"/>
                    </a:lnTo>
                    <a:lnTo>
                      <a:pt x="294" y="39"/>
                    </a:lnTo>
                    <a:lnTo>
                      <a:pt x="248" y="86"/>
                    </a:lnTo>
                    <a:lnTo>
                      <a:pt x="195" y="161"/>
                    </a:lnTo>
                    <a:lnTo>
                      <a:pt x="162" y="214"/>
                    </a:lnTo>
                    <a:lnTo>
                      <a:pt x="135" y="259"/>
                    </a:lnTo>
                    <a:lnTo>
                      <a:pt x="101" y="324"/>
                    </a:lnTo>
                    <a:lnTo>
                      <a:pt x="84" y="374"/>
                    </a:lnTo>
                    <a:lnTo>
                      <a:pt x="79" y="430"/>
                    </a:lnTo>
                    <a:lnTo>
                      <a:pt x="79" y="467"/>
                    </a:lnTo>
                    <a:lnTo>
                      <a:pt x="80" y="519"/>
                    </a:lnTo>
                    <a:lnTo>
                      <a:pt x="87" y="567"/>
                    </a:lnTo>
                    <a:lnTo>
                      <a:pt x="95" y="584"/>
                    </a:lnTo>
                    <a:lnTo>
                      <a:pt x="101" y="587"/>
                    </a:lnTo>
                    <a:lnTo>
                      <a:pt x="111" y="592"/>
                    </a:lnTo>
                    <a:lnTo>
                      <a:pt x="113" y="602"/>
                    </a:lnTo>
                    <a:lnTo>
                      <a:pt x="99" y="612"/>
                    </a:lnTo>
                    <a:lnTo>
                      <a:pt x="72" y="618"/>
                    </a:lnTo>
                    <a:lnTo>
                      <a:pt x="54" y="619"/>
                    </a:lnTo>
                    <a:lnTo>
                      <a:pt x="35" y="620"/>
                    </a:lnTo>
                    <a:lnTo>
                      <a:pt x="13" y="629"/>
                    </a:lnTo>
                    <a:lnTo>
                      <a:pt x="3" y="637"/>
                    </a:lnTo>
                    <a:lnTo>
                      <a:pt x="1" y="642"/>
                    </a:lnTo>
                    <a:lnTo>
                      <a:pt x="0" y="648"/>
                    </a:lnTo>
                    <a:lnTo>
                      <a:pt x="6" y="665"/>
                    </a:lnTo>
                    <a:lnTo>
                      <a:pt x="30" y="699"/>
                    </a:lnTo>
                    <a:lnTo>
                      <a:pt x="77" y="746"/>
                    </a:lnTo>
                    <a:lnTo>
                      <a:pt x="114" y="772"/>
                    </a:lnTo>
                    <a:lnTo>
                      <a:pt x="134" y="781"/>
                    </a:lnTo>
                    <a:lnTo>
                      <a:pt x="142" y="782"/>
                    </a:lnTo>
                    <a:lnTo>
                      <a:pt x="152" y="783"/>
                    </a:lnTo>
                    <a:lnTo>
                      <a:pt x="175" y="791"/>
                    </a:lnTo>
                    <a:lnTo>
                      <a:pt x="217" y="813"/>
                    </a:lnTo>
                    <a:lnTo>
                      <a:pt x="272" y="856"/>
                    </a:lnTo>
                    <a:lnTo>
                      <a:pt x="301" y="888"/>
                    </a:lnTo>
                    <a:lnTo>
                      <a:pt x="311" y="906"/>
                    </a:lnTo>
                    <a:lnTo>
                      <a:pt x="312" y="914"/>
                    </a:lnTo>
                    <a:lnTo>
                      <a:pt x="314" y="926"/>
                    </a:lnTo>
                    <a:lnTo>
                      <a:pt x="332" y="948"/>
                    </a:lnTo>
                    <a:lnTo>
                      <a:pt x="344" y="954"/>
                    </a:lnTo>
                    <a:lnTo>
                      <a:pt x="359" y="957"/>
                    </a:lnTo>
                    <a:lnTo>
                      <a:pt x="379" y="956"/>
                    </a:lnTo>
                    <a:lnTo>
                      <a:pt x="389" y="947"/>
                    </a:lnTo>
                    <a:lnTo>
                      <a:pt x="385" y="931"/>
                    </a:lnTo>
                    <a:lnTo>
                      <a:pt x="377" y="920"/>
                    </a:lnTo>
                    <a:lnTo>
                      <a:pt x="373" y="915"/>
                    </a:lnTo>
                    <a:lnTo>
                      <a:pt x="369" y="902"/>
                    </a:lnTo>
                    <a:lnTo>
                      <a:pt x="371" y="883"/>
                    </a:lnTo>
                    <a:lnTo>
                      <a:pt x="386" y="863"/>
                    </a:lnTo>
                    <a:lnTo>
                      <a:pt x="403" y="858"/>
                    </a:lnTo>
                    <a:lnTo>
                      <a:pt x="415" y="861"/>
                    </a:lnTo>
                    <a:lnTo>
                      <a:pt x="421" y="865"/>
                    </a:lnTo>
                    <a:lnTo>
                      <a:pt x="431" y="873"/>
                    </a:lnTo>
                    <a:lnTo>
                      <a:pt x="448" y="874"/>
                    </a:lnTo>
                    <a:lnTo>
                      <a:pt x="452" y="869"/>
                    </a:lnTo>
                    <a:lnTo>
                      <a:pt x="454" y="864"/>
                    </a:lnTo>
                    <a:lnTo>
                      <a:pt x="453" y="853"/>
                    </a:lnTo>
                    <a:lnTo>
                      <a:pt x="441" y="835"/>
                    </a:lnTo>
                    <a:lnTo>
                      <a:pt x="413" y="813"/>
                    </a:lnTo>
                    <a:lnTo>
                      <a:pt x="383" y="802"/>
                    </a:lnTo>
                    <a:lnTo>
                      <a:pt x="371" y="804"/>
                    </a:lnTo>
                    <a:lnTo>
                      <a:pt x="364" y="805"/>
                    </a:lnTo>
                    <a:lnTo>
                      <a:pt x="347" y="804"/>
                    </a:lnTo>
                    <a:lnTo>
                      <a:pt x="313" y="792"/>
                    </a:lnTo>
                    <a:lnTo>
                      <a:pt x="264" y="765"/>
                    </a:lnTo>
                    <a:lnTo>
                      <a:pt x="224" y="733"/>
                    </a:lnTo>
                    <a:lnTo>
                      <a:pt x="214" y="717"/>
                    </a:lnTo>
                    <a:lnTo>
                      <a:pt x="211" y="709"/>
                    </a:lnTo>
                    <a:lnTo>
                      <a:pt x="207" y="677"/>
                    </a:lnTo>
                    <a:lnTo>
                      <a:pt x="207" y="601"/>
                    </a:lnTo>
                    <a:lnTo>
                      <a:pt x="211" y="539"/>
                    </a:lnTo>
                    <a:lnTo>
                      <a:pt x="215" y="491"/>
                    </a:lnTo>
                    <a:lnTo>
                      <a:pt x="224" y="424"/>
                    </a:lnTo>
                    <a:lnTo>
                      <a:pt x="238" y="376"/>
                    </a:lnTo>
                    <a:lnTo>
                      <a:pt x="262" y="334"/>
                    </a:lnTo>
                    <a:lnTo>
                      <a:pt x="279" y="309"/>
                    </a:lnTo>
                    <a:lnTo>
                      <a:pt x="295" y="288"/>
                    </a:lnTo>
                    <a:lnTo>
                      <a:pt x="321" y="258"/>
                    </a:lnTo>
                    <a:lnTo>
                      <a:pt x="344" y="240"/>
                    </a:lnTo>
                    <a:lnTo>
                      <a:pt x="368" y="233"/>
                    </a:lnTo>
                    <a:lnTo>
                      <a:pt x="382" y="232"/>
                    </a:lnTo>
                    <a:lnTo>
                      <a:pt x="429" y="232"/>
                    </a:lnTo>
                    <a:lnTo>
                      <a:pt x="429" y="115"/>
                    </a:lnTo>
                    <a:lnTo>
                      <a:pt x="428" y="68"/>
                    </a:lnTo>
                    <a:lnTo>
                      <a:pt x="422" y="7"/>
                    </a:lnTo>
                    <a:lnTo>
                      <a:pt x="417" y="0"/>
                    </a:lnTo>
                    <a:lnTo>
                      <a:pt x="397" y="4"/>
                    </a:lnTo>
                    <a:lnTo>
                      <a:pt x="362" y="10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20"/>
              <p:cNvSpPr>
                <a:spLocks/>
              </p:cNvSpPr>
              <p:nvPr/>
            </p:nvSpPr>
            <p:spPr bwMode="auto">
              <a:xfrm>
                <a:off x="2846" y="1506"/>
                <a:ext cx="276" cy="257"/>
              </a:xfrm>
              <a:custGeom>
                <a:avLst/>
                <a:gdLst>
                  <a:gd name="T0" fmla="*/ 0 w 250"/>
                  <a:gd name="T1" fmla="*/ 116 h 233"/>
                  <a:gd name="T2" fmla="*/ 0 w 250"/>
                  <a:gd name="T3" fmla="*/ 233 h 233"/>
                  <a:gd name="T4" fmla="*/ 125 w 250"/>
                  <a:gd name="T5" fmla="*/ 233 h 233"/>
                  <a:gd name="T6" fmla="*/ 250 w 250"/>
                  <a:gd name="T7" fmla="*/ 233 h 233"/>
                  <a:gd name="T8" fmla="*/ 250 w 250"/>
                  <a:gd name="T9" fmla="*/ 126 h 233"/>
                  <a:gd name="T10" fmla="*/ 250 w 250"/>
                  <a:gd name="T11" fmla="*/ 84 h 233"/>
                  <a:gd name="T12" fmla="*/ 245 w 250"/>
                  <a:gd name="T13" fmla="*/ 42 h 233"/>
                  <a:gd name="T14" fmla="*/ 236 w 250"/>
                  <a:gd name="T15" fmla="*/ 23 h 233"/>
                  <a:gd name="T16" fmla="*/ 222 w 250"/>
                  <a:gd name="T17" fmla="*/ 11 h 233"/>
                  <a:gd name="T18" fmla="*/ 199 w 250"/>
                  <a:gd name="T19" fmla="*/ 4 h 233"/>
                  <a:gd name="T20" fmla="*/ 149 w 250"/>
                  <a:gd name="T21" fmla="*/ 0 h 233"/>
                  <a:gd name="T22" fmla="*/ 98 w 250"/>
                  <a:gd name="T23" fmla="*/ 0 h 233"/>
                  <a:gd name="T24" fmla="*/ 0 w 250"/>
                  <a:gd name="T25" fmla="*/ 0 h 233"/>
                  <a:gd name="T26" fmla="*/ 0 w 250"/>
                  <a:gd name="T27" fmla="*/ 116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50" h="233">
                    <a:moveTo>
                      <a:pt x="0" y="116"/>
                    </a:moveTo>
                    <a:lnTo>
                      <a:pt x="0" y="233"/>
                    </a:lnTo>
                    <a:lnTo>
                      <a:pt x="125" y="233"/>
                    </a:lnTo>
                    <a:lnTo>
                      <a:pt x="250" y="233"/>
                    </a:lnTo>
                    <a:lnTo>
                      <a:pt x="250" y="126"/>
                    </a:lnTo>
                    <a:lnTo>
                      <a:pt x="250" y="84"/>
                    </a:lnTo>
                    <a:lnTo>
                      <a:pt x="245" y="42"/>
                    </a:lnTo>
                    <a:lnTo>
                      <a:pt x="236" y="23"/>
                    </a:lnTo>
                    <a:lnTo>
                      <a:pt x="222" y="11"/>
                    </a:lnTo>
                    <a:lnTo>
                      <a:pt x="199" y="4"/>
                    </a:lnTo>
                    <a:lnTo>
                      <a:pt x="149" y="0"/>
                    </a:lnTo>
                    <a:lnTo>
                      <a:pt x="98" y="0"/>
                    </a:lnTo>
                    <a:lnTo>
                      <a:pt x="0" y="0"/>
                    </a:lnTo>
                    <a:lnTo>
                      <a:pt x="0" y="116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21"/>
              <p:cNvSpPr>
                <a:spLocks/>
              </p:cNvSpPr>
              <p:nvPr/>
            </p:nvSpPr>
            <p:spPr bwMode="auto">
              <a:xfrm>
                <a:off x="3194" y="1527"/>
                <a:ext cx="744" cy="382"/>
              </a:xfrm>
              <a:custGeom>
                <a:avLst/>
                <a:gdLst>
                  <a:gd name="T0" fmla="*/ 0 w 675"/>
                  <a:gd name="T1" fmla="*/ 106 h 347"/>
                  <a:gd name="T2" fmla="*/ 0 w 675"/>
                  <a:gd name="T3" fmla="*/ 143 h 347"/>
                  <a:gd name="T4" fmla="*/ 3 w 675"/>
                  <a:gd name="T5" fmla="*/ 188 h 347"/>
                  <a:gd name="T6" fmla="*/ 9 w 675"/>
                  <a:gd name="T7" fmla="*/ 205 h 347"/>
                  <a:gd name="T8" fmla="*/ 15 w 675"/>
                  <a:gd name="T9" fmla="*/ 210 h 347"/>
                  <a:gd name="T10" fmla="*/ 31 w 675"/>
                  <a:gd name="T11" fmla="*/ 212 h 347"/>
                  <a:gd name="T12" fmla="*/ 47 w 675"/>
                  <a:gd name="T13" fmla="*/ 211 h 347"/>
                  <a:gd name="T14" fmla="*/ 58 w 675"/>
                  <a:gd name="T15" fmla="*/ 211 h 347"/>
                  <a:gd name="T16" fmla="*/ 90 w 675"/>
                  <a:gd name="T17" fmla="*/ 218 h 347"/>
                  <a:gd name="T18" fmla="*/ 154 w 675"/>
                  <a:gd name="T19" fmla="*/ 241 h 347"/>
                  <a:gd name="T20" fmla="*/ 199 w 675"/>
                  <a:gd name="T21" fmla="*/ 262 h 347"/>
                  <a:gd name="T22" fmla="*/ 247 w 675"/>
                  <a:gd name="T23" fmla="*/ 285 h 347"/>
                  <a:gd name="T24" fmla="*/ 345 w 675"/>
                  <a:gd name="T25" fmla="*/ 318 h 347"/>
                  <a:gd name="T26" fmla="*/ 409 w 675"/>
                  <a:gd name="T27" fmla="*/ 329 h 347"/>
                  <a:gd name="T28" fmla="*/ 443 w 675"/>
                  <a:gd name="T29" fmla="*/ 330 h 347"/>
                  <a:gd name="T30" fmla="*/ 469 w 675"/>
                  <a:gd name="T31" fmla="*/ 326 h 347"/>
                  <a:gd name="T32" fmla="*/ 482 w 675"/>
                  <a:gd name="T33" fmla="*/ 315 h 347"/>
                  <a:gd name="T34" fmla="*/ 484 w 675"/>
                  <a:gd name="T35" fmla="*/ 307 h 347"/>
                  <a:gd name="T36" fmla="*/ 485 w 675"/>
                  <a:gd name="T37" fmla="*/ 296 h 347"/>
                  <a:gd name="T38" fmla="*/ 494 w 675"/>
                  <a:gd name="T39" fmla="*/ 282 h 347"/>
                  <a:gd name="T40" fmla="*/ 500 w 675"/>
                  <a:gd name="T41" fmla="*/ 281 h 347"/>
                  <a:gd name="T42" fmla="*/ 507 w 675"/>
                  <a:gd name="T43" fmla="*/ 282 h 347"/>
                  <a:gd name="T44" fmla="*/ 516 w 675"/>
                  <a:gd name="T45" fmla="*/ 296 h 347"/>
                  <a:gd name="T46" fmla="*/ 517 w 675"/>
                  <a:gd name="T47" fmla="*/ 306 h 347"/>
                  <a:gd name="T48" fmla="*/ 519 w 675"/>
                  <a:gd name="T49" fmla="*/ 315 h 347"/>
                  <a:gd name="T50" fmla="*/ 539 w 675"/>
                  <a:gd name="T51" fmla="*/ 332 h 347"/>
                  <a:gd name="T52" fmla="*/ 571 w 675"/>
                  <a:gd name="T53" fmla="*/ 344 h 347"/>
                  <a:gd name="T54" fmla="*/ 605 w 675"/>
                  <a:gd name="T55" fmla="*/ 347 h 347"/>
                  <a:gd name="T56" fmla="*/ 619 w 675"/>
                  <a:gd name="T57" fmla="*/ 344 h 347"/>
                  <a:gd name="T58" fmla="*/ 627 w 675"/>
                  <a:gd name="T59" fmla="*/ 339 h 347"/>
                  <a:gd name="T60" fmla="*/ 650 w 675"/>
                  <a:gd name="T61" fmla="*/ 306 h 347"/>
                  <a:gd name="T62" fmla="*/ 660 w 675"/>
                  <a:gd name="T63" fmla="*/ 284 h 347"/>
                  <a:gd name="T64" fmla="*/ 668 w 675"/>
                  <a:gd name="T65" fmla="*/ 266 h 347"/>
                  <a:gd name="T66" fmla="*/ 675 w 675"/>
                  <a:gd name="T67" fmla="*/ 243 h 347"/>
                  <a:gd name="T68" fmla="*/ 671 w 675"/>
                  <a:gd name="T69" fmla="*/ 229 h 347"/>
                  <a:gd name="T70" fmla="*/ 656 w 675"/>
                  <a:gd name="T71" fmla="*/ 218 h 347"/>
                  <a:gd name="T72" fmla="*/ 644 w 675"/>
                  <a:gd name="T73" fmla="*/ 212 h 347"/>
                  <a:gd name="T74" fmla="*/ 626 w 675"/>
                  <a:gd name="T75" fmla="*/ 202 h 347"/>
                  <a:gd name="T76" fmla="*/ 613 w 675"/>
                  <a:gd name="T77" fmla="*/ 184 h 347"/>
                  <a:gd name="T78" fmla="*/ 611 w 675"/>
                  <a:gd name="T79" fmla="*/ 170 h 347"/>
                  <a:gd name="T80" fmla="*/ 612 w 675"/>
                  <a:gd name="T81" fmla="*/ 162 h 347"/>
                  <a:gd name="T82" fmla="*/ 615 w 675"/>
                  <a:gd name="T83" fmla="*/ 149 h 347"/>
                  <a:gd name="T84" fmla="*/ 614 w 675"/>
                  <a:gd name="T85" fmla="*/ 134 h 347"/>
                  <a:gd name="T86" fmla="*/ 602 w 675"/>
                  <a:gd name="T87" fmla="*/ 134 h 347"/>
                  <a:gd name="T88" fmla="*/ 583 w 675"/>
                  <a:gd name="T89" fmla="*/ 150 h 347"/>
                  <a:gd name="T90" fmla="*/ 570 w 675"/>
                  <a:gd name="T91" fmla="*/ 164 h 347"/>
                  <a:gd name="T92" fmla="*/ 561 w 675"/>
                  <a:gd name="T93" fmla="*/ 173 h 347"/>
                  <a:gd name="T94" fmla="*/ 534 w 675"/>
                  <a:gd name="T95" fmla="*/ 185 h 347"/>
                  <a:gd name="T96" fmla="*/ 500 w 675"/>
                  <a:gd name="T97" fmla="*/ 190 h 347"/>
                  <a:gd name="T98" fmla="*/ 459 w 675"/>
                  <a:gd name="T99" fmla="*/ 189 h 347"/>
                  <a:gd name="T100" fmla="*/ 414 w 675"/>
                  <a:gd name="T101" fmla="*/ 181 h 347"/>
                  <a:gd name="T102" fmla="*/ 367 w 675"/>
                  <a:gd name="T103" fmla="*/ 168 h 347"/>
                  <a:gd name="T104" fmla="*/ 318 w 675"/>
                  <a:gd name="T105" fmla="*/ 149 h 347"/>
                  <a:gd name="T106" fmla="*/ 271 w 675"/>
                  <a:gd name="T107" fmla="*/ 125 h 347"/>
                  <a:gd name="T108" fmla="*/ 249 w 675"/>
                  <a:gd name="T109" fmla="*/ 111 h 347"/>
                  <a:gd name="T110" fmla="*/ 171 w 675"/>
                  <a:gd name="T111" fmla="*/ 60 h 347"/>
                  <a:gd name="T112" fmla="*/ 92 w 675"/>
                  <a:gd name="T113" fmla="*/ 15 h 347"/>
                  <a:gd name="T114" fmla="*/ 54 w 675"/>
                  <a:gd name="T115" fmla="*/ 1 h 347"/>
                  <a:gd name="T116" fmla="*/ 29 w 675"/>
                  <a:gd name="T117" fmla="*/ 0 h 347"/>
                  <a:gd name="T118" fmla="*/ 13 w 675"/>
                  <a:gd name="T119" fmla="*/ 13 h 347"/>
                  <a:gd name="T120" fmla="*/ 4 w 675"/>
                  <a:gd name="T121" fmla="*/ 40 h 347"/>
                  <a:gd name="T122" fmla="*/ 1 w 675"/>
                  <a:gd name="T123" fmla="*/ 80 h 347"/>
                  <a:gd name="T124" fmla="*/ 0 w 675"/>
                  <a:gd name="T125" fmla="*/ 106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5" h="347">
                    <a:moveTo>
                      <a:pt x="0" y="106"/>
                    </a:moveTo>
                    <a:lnTo>
                      <a:pt x="0" y="143"/>
                    </a:lnTo>
                    <a:lnTo>
                      <a:pt x="3" y="188"/>
                    </a:lnTo>
                    <a:lnTo>
                      <a:pt x="9" y="205"/>
                    </a:lnTo>
                    <a:lnTo>
                      <a:pt x="15" y="210"/>
                    </a:lnTo>
                    <a:lnTo>
                      <a:pt x="31" y="212"/>
                    </a:lnTo>
                    <a:lnTo>
                      <a:pt x="47" y="211"/>
                    </a:lnTo>
                    <a:lnTo>
                      <a:pt x="58" y="211"/>
                    </a:lnTo>
                    <a:lnTo>
                      <a:pt x="90" y="218"/>
                    </a:lnTo>
                    <a:lnTo>
                      <a:pt x="154" y="241"/>
                    </a:lnTo>
                    <a:lnTo>
                      <a:pt x="199" y="262"/>
                    </a:lnTo>
                    <a:lnTo>
                      <a:pt x="247" y="285"/>
                    </a:lnTo>
                    <a:lnTo>
                      <a:pt x="345" y="318"/>
                    </a:lnTo>
                    <a:lnTo>
                      <a:pt x="409" y="329"/>
                    </a:lnTo>
                    <a:lnTo>
                      <a:pt x="443" y="330"/>
                    </a:lnTo>
                    <a:lnTo>
                      <a:pt x="469" y="326"/>
                    </a:lnTo>
                    <a:lnTo>
                      <a:pt x="482" y="315"/>
                    </a:lnTo>
                    <a:lnTo>
                      <a:pt x="484" y="307"/>
                    </a:lnTo>
                    <a:lnTo>
                      <a:pt x="485" y="296"/>
                    </a:lnTo>
                    <a:lnTo>
                      <a:pt x="494" y="282"/>
                    </a:lnTo>
                    <a:lnTo>
                      <a:pt x="500" y="281"/>
                    </a:lnTo>
                    <a:lnTo>
                      <a:pt x="507" y="282"/>
                    </a:lnTo>
                    <a:lnTo>
                      <a:pt x="516" y="296"/>
                    </a:lnTo>
                    <a:lnTo>
                      <a:pt x="517" y="306"/>
                    </a:lnTo>
                    <a:lnTo>
                      <a:pt x="519" y="315"/>
                    </a:lnTo>
                    <a:lnTo>
                      <a:pt x="539" y="332"/>
                    </a:lnTo>
                    <a:lnTo>
                      <a:pt x="571" y="344"/>
                    </a:lnTo>
                    <a:lnTo>
                      <a:pt x="605" y="347"/>
                    </a:lnTo>
                    <a:lnTo>
                      <a:pt x="619" y="344"/>
                    </a:lnTo>
                    <a:lnTo>
                      <a:pt x="627" y="339"/>
                    </a:lnTo>
                    <a:lnTo>
                      <a:pt x="650" y="306"/>
                    </a:lnTo>
                    <a:lnTo>
                      <a:pt x="660" y="284"/>
                    </a:lnTo>
                    <a:lnTo>
                      <a:pt x="668" y="266"/>
                    </a:lnTo>
                    <a:lnTo>
                      <a:pt x="675" y="243"/>
                    </a:lnTo>
                    <a:lnTo>
                      <a:pt x="671" y="229"/>
                    </a:lnTo>
                    <a:lnTo>
                      <a:pt x="656" y="218"/>
                    </a:lnTo>
                    <a:lnTo>
                      <a:pt x="644" y="212"/>
                    </a:lnTo>
                    <a:lnTo>
                      <a:pt x="626" y="202"/>
                    </a:lnTo>
                    <a:lnTo>
                      <a:pt x="613" y="184"/>
                    </a:lnTo>
                    <a:lnTo>
                      <a:pt x="611" y="170"/>
                    </a:lnTo>
                    <a:lnTo>
                      <a:pt x="612" y="162"/>
                    </a:lnTo>
                    <a:lnTo>
                      <a:pt x="615" y="149"/>
                    </a:lnTo>
                    <a:lnTo>
                      <a:pt x="614" y="134"/>
                    </a:lnTo>
                    <a:lnTo>
                      <a:pt x="602" y="134"/>
                    </a:lnTo>
                    <a:lnTo>
                      <a:pt x="583" y="150"/>
                    </a:lnTo>
                    <a:lnTo>
                      <a:pt x="570" y="164"/>
                    </a:lnTo>
                    <a:lnTo>
                      <a:pt x="561" y="173"/>
                    </a:lnTo>
                    <a:lnTo>
                      <a:pt x="534" y="185"/>
                    </a:lnTo>
                    <a:lnTo>
                      <a:pt x="500" y="190"/>
                    </a:lnTo>
                    <a:lnTo>
                      <a:pt x="459" y="189"/>
                    </a:lnTo>
                    <a:lnTo>
                      <a:pt x="414" y="181"/>
                    </a:lnTo>
                    <a:lnTo>
                      <a:pt x="367" y="168"/>
                    </a:lnTo>
                    <a:lnTo>
                      <a:pt x="318" y="149"/>
                    </a:lnTo>
                    <a:lnTo>
                      <a:pt x="271" y="125"/>
                    </a:lnTo>
                    <a:lnTo>
                      <a:pt x="249" y="111"/>
                    </a:lnTo>
                    <a:lnTo>
                      <a:pt x="171" y="60"/>
                    </a:lnTo>
                    <a:lnTo>
                      <a:pt x="92" y="15"/>
                    </a:lnTo>
                    <a:lnTo>
                      <a:pt x="54" y="1"/>
                    </a:lnTo>
                    <a:lnTo>
                      <a:pt x="29" y="0"/>
                    </a:lnTo>
                    <a:lnTo>
                      <a:pt x="13" y="13"/>
                    </a:lnTo>
                    <a:lnTo>
                      <a:pt x="4" y="40"/>
                    </a:lnTo>
                    <a:lnTo>
                      <a:pt x="1" y="8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22"/>
              <p:cNvSpPr>
                <a:spLocks noEditPoints="1"/>
              </p:cNvSpPr>
              <p:nvPr/>
            </p:nvSpPr>
            <p:spPr bwMode="auto">
              <a:xfrm>
                <a:off x="3855" y="1524"/>
                <a:ext cx="992" cy="992"/>
              </a:xfrm>
              <a:custGeom>
                <a:avLst/>
                <a:gdLst>
                  <a:gd name="T0" fmla="*/ 361 w 900"/>
                  <a:gd name="T1" fmla="*/ 65 h 900"/>
                  <a:gd name="T2" fmla="*/ 300 w 900"/>
                  <a:gd name="T3" fmla="*/ 97 h 900"/>
                  <a:gd name="T4" fmla="*/ 214 w 900"/>
                  <a:gd name="T5" fmla="*/ 104 h 900"/>
                  <a:gd name="T6" fmla="*/ 186 w 900"/>
                  <a:gd name="T7" fmla="*/ 89 h 900"/>
                  <a:gd name="T8" fmla="*/ 131 w 900"/>
                  <a:gd name="T9" fmla="*/ 130 h 900"/>
                  <a:gd name="T10" fmla="*/ 90 w 900"/>
                  <a:gd name="T11" fmla="*/ 184 h 900"/>
                  <a:gd name="T12" fmla="*/ 105 w 900"/>
                  <a:gd name="T13" fmla="*/ 214 h 900"/>
                  <a:gd name="T14" fmla="*/ 86 w 900"/>
                  <a:gd name="T15" fmla="*/ 307 h 900"/>
                  <a:gd name="T16" fmla="*/ 33 w 900"/>
                  <a:gd name="T17" fmla="*/ 383 h 900"/>
                  <a:gd name="T18" fmla="*/ 9 w 900"/>
                  <a:gd name="T19" fmla="*/ 395 h 900"/>
                  <a:gd name="T20" fmla="*/ 13 w 900"/>
                  <a:gd name="T21" fmla="*/ 505 h 900"/>
                  <a:gd name="T22" fmla="*/ 39 w 900"/>
                  <a:gd name="T23" fmla="*/ 524 h 900"/>
                  <a:gd name="T24" fmla="*/ 85 w 900"/>
                  <a:gd name="T25" fmla="*/ 590 h 900"/>
                  <a:gd name="T26" fmla="*/ 86 w 900"/>
                  <a:gd name="T27" fmla="*/ 673 h 900"/>
                  <a:gd name="T28" fmla="*/ 62 w 900"/>
                  <a:gd name="T29" fmla="*/ 707 h 900"/>
                  <a:gd name="T30" fmla="*/ 108 w 900"/>
                  <a:gd name="T31" fmla="*/ 765 h 900"/>
                  <a:gd name="T32" fmla="*/ 169 w 900"/>
                  <a:gd name="T33" fmla="*/ 809 h 900"/>
                  <a:gd name="T34" fmla="*/ 204 w 900"/>
                  <a:gd name="T35" fmla="*/ 796 h 900"/>
                  <a:gd name="T36" fmla="*/ 321 w 900"/>
                  <a:gd name="T37" fmla="*/ 815 h 900"/>
                  <a:gd name="T38" fmla="*/ 365 w 900"/>
                  <a:gd name="T39" fmla="*/ 864 h 900"/>
                  <a:gd name="T40" fmla="*/ 392 w 900"/>
                  <a:gd name="T41" fmla="*/ 897 h 900"/>
                  <a:gd name="T42" fmla="*/ 465 w 900"/>
                  <a:gd name="T43" fmla="*/ 900 h 900"/>
                  <a:gd name="T44" fmla="*/ 519 w 900"/>
                  <a:gd name="T45" fmla="*/ 875 h 900"/>
                  <a:gd name="T46" fmla="*/ 535 w 900"/>
                  <a:gd name="T47" fmla="*/ 838 h 900"/>
                  <a:gd name="T48" fmla="*/ 658 w 900"/>
                  <a:gd name="T49" fmla="*/ 791 h 900"/>
                  <a:gd name="T50" fmla="*/ 698 w 900"/>
                  <a:gd name="T51" fmla="*/ 805 h 900"/>
                  <a:gd name="T52" fmla="*/ 754 w 900"/>
                  <a:gd name="T53" fmla="*/ 779 h 900"/>
                  <a:gd name="T54" fmla="*/ 801 w 900"/>
                  <a:gd name="T55" fmla="*/ 725 h 900"/>
                  <a:gd name="T56" fmla="*/ 795 w 900"/>
                  <a:gd name="T57" fmla="*/ 685 h 900"/>
                  <a:gd name="T58" fmla="*/ 789 w 900"/>
                  <a:gd name="T59" fmla="*/ 615 h 900"/>
                  <a:gd name="T60" fmla="*/ 859 w 900"/>
                  <a:gd name="T61" fmla="*/ 518 h 900"/>
                  <a:gd name="T62" fmla="*/ 893 w 900"/>
                  <a:gd name="T63" fmla="*/ 511 h 900"/>
                  <a:gd name="T64" fmla="*/ 898 w 900"/>
                  <a:gd name="T65" fmla="*/ 445 h 900"/>
                  <a:gd name="T66" fmla="*/ 884 w 900"/>
                  <a:gd name="T67" fmla="*/ 385 h 900"/>
                  <a:gd name="T68" fmla="*/ 858 w 900"/>
                  <a:gd name="T69" fmla="*/ 381 h 900"/>
                  <a:gd name="T70" fmla="*/ 810 w 900"/>
                  <a:gd name="T71" fmla="*/ 335 h 900"/>
                  <a:gd name="T72" fmla="*/ 787 w 900"/>
                  <a:gd name="T73" fmla="*/ 249 h 900"/>
                  <a:gd name="T74" fmla="*/ 816 w 900"/>
                  <a:gd name="T75" fmla="*/ 211 h 900"/>
                  <a:gd name="T76" fmla="*/ 804 w 900"/>
                  <a:gd name="T77" fmla="*/ 157 h 900"/>
                  <a:gd name="T78" fmla="*/ 747 w 900"/>
                  <a:gd name="T79" fmla="*/ 93 h 900"/>
                  <a:gd name="T80" fmla="*/ 686 w 900"/>
                  <a:gd name="T81" fmla="*/ 107 h 900"/>
                  <a:gd name="T82" fmla="*/ 629 w 900"/>
                  <a:gd name="T83" fmla="*/ 114 h 900"/>
                  <a:gd name="T84" fmla="*/ 545 w 900"/>
                  <a:gd name="T85" fmla="*/ 73 h 900"/>
                  <a:gd name="T86" fmla="*/ 518 w 900"/>
                  <a:gd name="T87" fmla="*/ 34 h 900"/>
                  <a:gd name="T88" fmla="*/ 495 w 900"/>
                  <a:gd name="T89" fmla="*/ 3 h 900"/>
                  <a:gd name="T90" fmla="*/ 420 w 900"/>
                  <a:gd name="T91" fmla="*/ 0 h 900"/>
                  <a:gd name="T92" fmla="*/ 368 w 900"/>
                  <a:gd name="T93" fmla="*/ 27 h 900"/>
                  <a:gd name="T94" fmla="*/ 529 w 900"/>
                  <a:gd name="T95" fmla="*/ 283 h 900"/>
                  <a:gd name="T96" fmla="*/ 615 w 900"/>
                  <a:gd name="T97" fmla="*/ 370 h 900"/>
                  <a:gd name="T98" fmla="*/ 631 w 900"/>
                  <a:gd name="T99" fmla="*/ 489 h 900"/>
                  <a:gd name="T100" fmla="*/ 596 w 900"/>
                  <a:gd name="T101" fmla="*/ 574 h 900"/>
                  <a:gd name="T102" fmla="*/ 468 w 900"/>
                  <a:gd name="T103" fmla="*/ 647 h 900"/>
                  <a:gd name="T104" fmla="*/ 326 w 900"/>
                  <a:gd name="T105" fmla="*/ 610 h 900"/>
                  <a:gd name="T106" fmla="*/ 266 w 900"/>
                  <a:gd name="T107" fmla="*/ 529 h 900"/>
                  <a:gd name="T108" fmla="*/ 260 w 900"/>
                  <a:gd name="T109" fmla="*/ 400 h 900"/>
                  <a:gd name="T110" fmla="*/ 331 w 900"/>
                  <a:gd name="T111" fmla="*/ 297 h 900"/>
                  <a:gd name="T112" fmla="*/ 432 w 900"/>
                  <a:gd name="T113" fmla="*/ 256 h 900"/>
                  <a:gd name="T114" fmla="*/ 508 w 900"/>
                  <a:gd name="T115" fmla="*/ 274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00" h="900">
                    <a:moveTo>
                      <a:pt x="368" y="39"/>
                    </a:moveTo>
                    <a:lnTo>
                      <a:pt x="368" y="49"/>
                    </a:lnTo>
                    <a:lnTo>
                      <a:pt x="361" y="65"/>
                    </a:lnTo>
                    <a:lnTo>
                      <a:pt x="345" y="79"/>
                    </a:lnTo>
                    <a:lnTo>
                      <a:pt x="318" y="91"/>
                    </a:lnTo>
                    <a:lnTo>
                      <a:pt x="300" y="97"/>
                    </a:lnTo>
                    <a:lnTo>
                      <a:pt x="264" y="107"/>
                    </a:lnTo>
                    <a:lnTo>
                      <a:pt x="230" y="109"/>
                    </a:lnTo>
                    <a:lnTo>
                      <a:pt x="214" y="104"/>
                    </a:lnTo>
                    <a:lnTo>
                      <a:pt x="206" y="99"/>
                    </a:lnTo>
                    <a:lnTo>
                      <a:pt x="200" y="93"/>
                    </a:lnTo>
                    <a:lnTo>
                      <a:pt x="186" y="89"/>
                    </a:lnTo>
                    <a:lnTo>
                      <a:pt x="169" y="96"/>
                    </a:lnTo>
                    <a:lnTo>
                      <a:pt x="146" y="115"/>
                    </a:lnTo>
                    <a:lnTo>
                      <a:pt x="131" y="130"/>
                    </a:lnTo>
                    <a:lnTo>
                      <a:pt x="116" y="145"/>
                    </a:lnTo>
                    <a:lnTo>
                      <a:pt x="97" y="167"/>
                    </a:lnTo>
                    <a:lnTo>
                      <a:pt x="90" y="184"/>
                    </a:lnTo>
                    <a:lnTo>
                      <a:pt x="94" y="199"/>
                    </a:lnTo>
                    <a:lnTo>
                      <a:pt x="100" y="207"/>
                    </a:lnTo>
                    <a:lnTo>
                      <a:pt x="105" y="214"/>
                    </a:lnTo>
                    <a:lnTo>
                      <a:pt x="111" y="231"/>
                    </a:lnTo>
                    <a:lnTo>
                      <a:pt x="104" y="266"/>
                    </a:lnTo>
                    <a:lnTo>
                      <a:pt x="86" y="307"/>
                    </a:lnTo>
                    <a:lnTo>
                      <a:pt x="72" y="338"/>
                    </a:lnTo>
                    <a:lnTo>
                      <a:pt x="47" y="371"/>
                    </a:lnTo>
                    <a:lnTo>
                      <a:pt x="33" y="383"/>
                    </a:lnTo>
                    <a:lnTo>
                      <a:pt x="28" y="384"/>
                    </a:lnTo>
                    <a:lnTo>
                      <a:pt x="21" y="385"/>
                    </a:lnTo>
                    <a:lnTo>
                      <a:pt x="9" y="395"/>
                    </a:lnTo>
                    <a:lnTo>
                      <a:pt x="0" y="424"/>
                    </a:lnTo>
                    <a:lnTo>
                      <a:pt x="1" y="473"/>
                    </a:lnTo>
                    <a:lnTo>
                      <a:pt x="13" y="505"/>
                    </a:lnTo>
                    <a:lnTo>
                      <a:pt x="25" y="519"/>
                    </a:lnTo>
                    <a:lnTo>
                      <a:pt x="33" y="522"/>
                    </a:lnTo>
                    <a:lnTo>
                      <a:pt x="39" y="524"/>
                    </a:lnTo>
                    <a:lnTo>
                      <a:pt x="54" y="536"/>
                    </a:lnTo>
                    <a:lnTo>
                      <a:pt x="74" y="565"/>
                    </a:lnTo>
                    <a:lnTo>
                      <a:pt x="85" y="590"/>
                    </a:lnTo>
                    <a:lnTo>
                      <a:pt x="95" y="625"/>
                    </a:lnTo>
                    <a:lnTo>
                      <a:pt x="95" y="656"/>
                    </a:lnTo>
                    <a:lnTo>
                      <a:pt x="86" y="673"/>
                    </a:lnTo>
                    <a:lnTo>
                      <a:pt x="78" y="682"/>
                    </a:lnTo>
                    <a:lnTo>
                      <a:pt x="70" y="691"/>
                    </a:lnTo>
                    <a:lnTo>
                      <a:pt x="62" y="707"/>
                    </a:lnTo>
                    <a:lnTo>
                      <a:pt x="69" y="724"/>
                    </a:lnTo>
                    <a:lnTo>
                      <a:pt x="90" y="748"/>
                    </a:lnTo>
                    <a:lnTo>
                      <a:pt x="108" y="765"/>
                    </a:lnTo>
                    <a:lnTo>
                      <a:pt x="125" y="781"/>
                    </a:lnTo>
                    <a:lnTo>
                      <a:pt x="150" y="801"/>
                    </a:lnTo>
                    <a:lnTo>
                      <a:pt x="169" y="809"/>
                    </a:lnTo>
                    <a:lnTo>
                      <a:pt x="186" y="806"/>
                    </a:lnTo>
                    <a:lnTo>
                      <a:pt x="195" y="800"/>
                    </a:lnTo>
                    <a:lnTo>
                      <a:pt x="204" y="796"/>
                    </a:lnTo>
                    <a:lnTo>
                      <a:pt x="227" y="791"/>
                    </a:lnTo>
                    <a:lnTo>
                      <a:pt x="267" y="795"/>
                    </a:lnTo>
                    <a:lnTo>
                      <a:pt x="321" y="815"/>
                    </a:lnTo>
                    <a:lnTo>
                      <a:pt x="351" y="838"/>
                    </a:lnTo>
                    <a:lnTo>
                      <a:pt x="363" y="855"/>
                    </a:lnTo>
                    <a:lnTo>
                      <a:pt x="365" y="864"/>
                    </a:lnTo>
                    <a:lnTo>
                      <a:pt x="367" y="875"/>
                    </a:lnTo>
                    <a:lnTo>
                      <a:pt x="375" y="889"/>
                    </a:lnTo>
                    <a:lnTo>
                      <a:pt x="392" y="897"/>
                    </a:lnTo>
                    <a:lnTo>
                      <a:pt x="421" y="900"/>
                    </a:lnTo>
                    <a:lnTo>
                      <a:pt x="443" y="900"/>
                    </a:lnTo>
                    <a:lnTo>
                      <a:pt x="465" y="900"/>
                    </a:lnTo>
                    <a:lnTo>
                      <a:pt x="494" y="897"/>
                    </a:lnTo>
                    <a:lnTo>
                      <a:pt x="511" y="889"/>
                    </a:lnTo>
                    <a:lnTo>
                      <a:pt x="519" y="875"/>
                    </a:lnTo>
                    <a:lnTo>
                      <a:pt x="521" y="864"/>
                    </a:lnTo>
                    <a:lnTo>
                      <a:pt x="523" y="855"/>
                    </a:lnTo>
                    <a:lnTo>
                      <a:pt x="535" y="838"/>
                    </a:lnTo>
                    <a:lnTo>
                      <a:pt x="565" y="815"/>
                    </a:lnTo>
                    <a:lnTo>
                      <a:pt x="618" y="795"/>
                    </a:lnTo>
                    <a:lnTo>
                      <a:pt x="658" y="791"/>
                    </a:lnTo>
                    <a:lnTo>
                      <a:pt x="681" y="796"/>
                    </a:lnTo>
                    <a:lnTo>
                      <a:pt x="690" y="800"/>
                    </a:lnTo>
                    <a:lnTo>
                      <a:pt x="698" y="805"/>
                    </a:lnTo>
                    <a:lnTo>
                      <a:pt x="714" y="808"/>
                    </a:lnTo>
                    <a:lnTo>
                      <a:pt x="732" y="799"/>
                    </a:lnTo>
                    <a:lnTo>
                      <a:pt x="754" y="779"/>
                    </a:lnTo>
                    <a:lnTo>
                      <a:pt x="768" y="764"/>
                    </a:lnTo>
                    <a:lnTo>
                      <a:pt x="782" y="748"/>
                    </a:lnTo>
                    <a:lnTo>
                      <a:pt x="801" y="725"/>
                    </a:lnTo>
                    <a:lnTo>
                      <a:pt x="806" y="708"/>
                    </a:lnTo>
                    <a:lnTo>
                      <a:pt x="801" y="693"/>
                    </a:lnTo>
                    <a:lnTo>
                      <a:pt x="795" y="685"/>
                    </a:lnTo>
                    <a:lnTo>
                      <a:pt x="789" y="677"/>
                    </a:lnTo>
                    <a:lnTo>
                      <a:pt x="784" y="656"/>
                    </a:lnTo>
                    <a:lnTo>
                      <a:pt x="789" y="615"/>
                    </a:lnTo>
                    <a:lnTo>
                      <a:pt x="814" y="559"/>
                    </a:lnTo>
                    <a:lnTo>
                      <a:pt x="840" y="529"/>
                    </a:lnTo>
                    <a:lnTo>
                      <a:pt x="859" y="518"/>
                    </a:lnTo>
                    <a:lnTo>
                      <a:pt x="868" y="517"/>
                    </a:lnTo>
                    <a:lnTo>
                      <a:pt x="879" y="517"/>
                    </a:lnTo>
                    <a:lnTo>
                      <a:pt x="893" y="511"/>
                    </a:lnTo>
                    <a:lnTo>
                      <a:pt x="899" y="496"/>
                    </a:lnTo>
                    <a:lnTo>
                      <a:pt x="900" y="467"/>
                    </a:lnTo>
                    <a:lnTo>
                      <a:pt x="898" y="445"/>
                    </a:lnTo>
                    <a:lnTo>
                      <a:pt x="897" y="426"/>
                    </a:lnTo>
                    <a:lnTo>
                      <a:pt x="892" y="399"/>
                    </a:lnTo>
                    <a:lnTo>
                      <a:pt x="884" y="385"/>
                    </a:lnTo>
                    <a:lnTo>
                      <a:pt x="872" y="380"/>
                    </a:lnTo>
                    <a:lnTo>
                      <a:pt x="865" y="380"/>
                    </a:lnTo>
                    <a:lnTo>
                      <a:pt x="858" y="381"/>
                    </a:lnTo>
                    <a:lnTo>
                      <a:pt x="844" y="376"/>
                    </a:lnTo>
                    <a:lnTo>
                      <a:pt x="823" y="356"/>
                    </a:lnTo>
                    <a:lnTo>
                      <a:pt x="810" y="335"/>
                    </a:lnTo>
                    <a:lnTo>
                      <a:pt x="799" y="313"/>
                    </a:lnTo>
                    <a:lnTo>
                      <a:pt x="787" y="277"/>
                    </a:lnTo>
                    <a:lnTo>
                      <a:pt x="787" y="249"/>
                    </a:lnTo>
                    <a:lnTo>
                      <a:pt x="799" y="227"/>
                    </a:lnTo>
                    <a:lnTo>
                      <a:pt x="810" y="217"/>
                    </a:lnTo>
                    <a:lnTo>
                      <a:pt x="816" y="211"/>
                    </a:lnTo>
                    <a:lnTo>
                      <a:pt x="823" y="198"/>
                    </a:lnTo>
                    <a:lnTo>
                      <a:pt x="819" y="182"/>
                    </a:lnTo>
                    <a:lnTo>
                      <a:pt x="804" y="157"/>
                    </a:lnTo>
                    <a:lnTo>
                      <a:pt x="791" y="140"/>
                    </a:lnTo>
                    <a:lnTo>
                      <a:pt x="774" y="119"/>
                    </a:lnTo>
                    <a:lnTo>
                      <a:pt x="747" y="93"/>
                    </a:lnTo>
                    <a:lnTo>
                      <a:pt x="724" y="85"/>
                    </a:lnTo>
                    <a:lnTo>
                      <a:pt x="700" y="95"/>
                    </a:lnTo>
                    <a:lnTo>
                      <a:pt x="686" y="107"/>
                    </a:lnTo>
                    <a:lnTo>
                      <a:pt x="678" y="113"/>
                    </a:lnTo>
                    <a:lnTo>
                      <a:pt x="661" y="119"/>
                    </a:lnTo>
                    <a:lnTo>
                      <a:pt x="629" y="114"/>
                    </a:lnTo>
                    <a:lnTo>
                      <a:pt x="590" y="97"/>
                    </a:lnTo>
                    <a:lnTo>
                      <a:pt x="572" y="89"/>
                    </a:lnTo>
                    <a:lnTo>
                      <a:pt x="545" y="73"/>
                    </a:lnTo>
                    <a:lnTo>
                      <a:pt x="527" y="58"/>
                    </a:lnTo>
                    <a:lnTo>
                      <a:pt x="519" y="42"/>
                    </a:lnTo>
                    <a:lnTo>
                      <a:pt x="518" y="34"/>
                    </a:lnTo>
                    <a:lnTo>
                      <a:pt x="518" y="24"/>
                    </a:lnTo>
                    <a:lnTo>
                      <a:pt x="511" y="10"/>
                    </a:lnTo>
                    <a:lnTo>
                      <a:pt x="495" y="3"/>
                    </a:lnTo>
                    <a:lnTo>
                      <a:pt x="465" y="0"/>
                    </a:lnTo>
                    <a:lnTo>
                      <a:pt x="443" y="0"/>
                    </a:lnTo>
                    <a:lnTo>
                      <a:pt x="420" y="0"/>
                    </a:lnTo>
                    <a:lnTo>
                      <a:pt x="389" y="3"/>
                    </a:lnTo>
                    <a:lnTo>
                      <a:pt x="374" y="11"/>
                    </a:lnTo>
                    <a:lnTo>
                      <a:pt x="368" y="27"/>
                    </a:lnTo>
                    <a:lnTo>
                      <a:pt x="368" y="39"/>
                    </a:lnTo>
                    <a:close/>
                    <a:moveTo>
                      <a:pt x="508" y="274"/>
                    </a:moveTo>
                    <a:lnTo>
                      <a:pt x="529" y="283"/>
                    </a:lnTo>
                    <a:lnTo>
                      <a:pt x="565" y="307"/>
                    </a:lnTo>
                    <a:lnTo>
                      <a:pt x="594" y="337"/>
                    </a:lnTo>
                    <a:lnTo>
                      <a:pt x="615" y="370"/>
                    </a:lnTo>
                    <a:lnTo>
                      <a:pt x="629" y="408"/>
                    </a:lnTo>
                    <a:lnTo>
                      <a:pt x="634" y="448"/>
                    </a:lnTo>
                    <a:lnTo>
                      <a:pt x="631" y="489"/>
                    </a:lnTo>
                    <a:lnTo>
                      <a:pt x="619" y="530"/>
                    </a:lnTo>
                    <a:lnTo>
                      <a:pt x="610" y="550"/>
                    </a:lnTo>
                    <a:lnTo>
                      <a:pt x="596" y="574"/>
                    </a:lnTo>
                    <a:lnTo>
                      <a:pt x="560" y="610"/>
                    </a:lnTo>
                    <a:lnTo>
                      <a:pt x="516" y="635"/>
                    </a:lnTo>
                    <a:lnTo>
                      <a:pt x="468" y="647"/>
                    </a:lnTo>
                    <a:lnTo>
                      <a:pt x="418" y="647"/>
                    </a:lnTo>
                    <a:lnTo>
                      <a:pt x="370" y="635"/>
                    </a:lnTo>
                    <a:lnTo>
                      <a:pt x="326" y="610"/>
                    </a:lnTo>
                    <a:lnTo>
                      <a:pt x="290" y="574"/>
                    </a:lnTo>
                    <a:lnTo>
                      <a:pt x="276" y="550"/>
                    </a:lnTo>
                    <a:lnTo>
                      <a:pt x="266" y="529"/>
                    </a:lnTo>
                    <a:lnTo>
                      <a:pt x="255" y="486"/>
                    </a:lnTo>
                    <a:lnTo>
                      <a:pt x="253" y="442"/>
                    </a:lnTo>
                    <a:lnTo>
                      <a:pt x="260" y="400"/>
                    </a:lnTo>
                    <a:lnTo>
                      <a:pt x="276" y="361"/>
                    </a:lnTo>
                    <a:lnTo>
                      <a:pt x="300" y="326"/>
                    </a:lnTo>
                    <a:lnTo>
                      <a:pt x="331" y="297"/>
                    </a:lnTo>
                    <a:lnTo>
                      <a:pt x="368" y="276"/>
                    </a:lnTo>
                    <a:lnTo>
                      <a:pt x="390" y="269"/>
                    </a:lnTo>
                    <a:lnTo>
                      <a:pt x="432" y="256"/>
                    </a:lnTo>
                    <a:lnTo>
                      <a:pt x="448" y="252"/>
                    </a:lnTo>
                    <a:lnTo>
                      <a:pt x="463" y="255"/>
                    </a:lnTo>
                    <a:lnTo>
                      <a:pt x="508" y="274"/>
                    </a:ln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23"/>
              <p:cNvSpPr>
                <a:spLocks/>
              </p:cNvSpPr>
              <p:nvPr/>
            </p:nvSpPr>
            <p:spPr bwMode="auto">
              <a:xfrm>
                <a:off x="4315" y="1708"/>
                <a:ext cx="1089" cy="1138"/>
              </a:xfrm>
              <a:custGeom>
                <a:avLst/>
                <a:gdLst>
                  <a:gd name="T0" fmla="*/ 642 w 987"/>
                  <a:gd name="T1" fmla="*/ 115 h 1033"/>
                  <a:gd name="T2" fmla="*/ 605 w 987"/>
                  <a:gd name="T3" fmla="*/ 161 h 1033"/>
                  <a:gd name="T4" fmla="*/ 555 w 987"/>
                  <a:gd name="T5" fmla="*/ 229 h 1033"/>
                  <a:gd name="T6" fmla="*/ 550 w 987"/>
                  <a:gd name="T7" fmla="*/ 240 h 1033"/>
                  <a:gd name="T8" fmla="*/ 554 w 987"/>
                  <a:gd name="T9" fmla="*/ 244 h 1033"/>
                  <a:gd name="T10" fmla="*/ 591 w 987"/>
                  <a:gd name="T11" fmla="*/ 249 h 1033"/>
                  <a:gd name="T12" fmla="*/ 618 w 987"/>
                  <a:gd name="T13" fmla="*/ 250 h 1033"/>
                  <a:gd name="T14" fmla="*/ 688 w 987"/>
                  <a:gd name="T15" fmla="*/ 250 h 1033"/>
                  <a:gd name="T16" fmla="*/ 677 w 987"/>
                  <a:gd name="T17" fmla="*/ 328 h 1033"/>
                  <a:gd name="T18" fmla="*/ 673 w 987"/>
                  <a:gd name="T19" fmla="*/ 351 h 1033"/>
                  <a:gd name="T20" fmla="*/ 662 w 987"/>
                  <a:gd name="T21" fmla="*/ 399 h 1033"/>
                  <a:gd name="T22" fmla="*/ 635 w 987"/>
                  <a:gd name="T23" fmla="*/ 473 h 1033"/>
                  <a:gd name="T24" fmla="*/ 582 w 987"/>
                  <a:gd name="T25" fmla="*/ 570 h 1033"/>
                  <a:gd name="T26" fmla="*/ 514 w 987"/>
                  <a:gd name="T27" fmla="*/ 660 h 1033"/>
                  <a:gd name="T28" fmla="*/ 475 w 987"/>
                  <a:gd name="T29" fmla="*/ 698 h 1033"/>
                  <a:gd name="T30" fmla="*/ 436 w 987"/>
                  <a:gd name="T31" fmla="*/ 734 h 1033"/>
                  <a:gd name="T32" fmla="*/ 351 w 987"/>
                  <a:gd name="T33" fmla="*/ 794 h 1033"/>
                  <a:gd name="T34" fmla="*/ 259 w 987"/>
                  <a:gd name="T35" fmla="*/ 840 h 1033"/>
                  <a:gd name="T36" fmla="*/ 157 w 987"/>
                  <a:gd name="T37" fmla="*/ 874 h 1033"/>
                  <a:gd name="T38" fmla="*/ 102 w 987"/>
                  <a:gd name="T39" fmla="*/ 887 h 1033"/>
                  <a:gd name="T40" fmla="*/ 61 w 987"/>
                  <a:gd name="T41" fmla="*/ 896 h 1033"/>
                  <a:gd name="T42" fmla="*/ 6 w 987"/>
                  <a:gd name="T43" fmla="*/ 914 h 1033"/>
                  <a:gd name="T44" fmla="*/ 0 w 987"/>
                  <a:gd name="T45" fmla="*/ 920 h 1033"/>
                  <a:gd name="T46" fmla="*/ 0 w 987"/>
                  <a:gd name="T47" fmla="*/ 983 h 1033"/>
                  <a:gd name="T48" fmla="*/ 0 w 987"/>
                  <a:gd name="T49" fmla="*/ 999 h 1033"/>
                  <a:gd name="T50" fmla="*/ 4 w 987"/>
                  <a:gd name="T51" fmla="*/ 1020 h 1033"/>
                  <a:gd name="T52" fmla="*/ 16 w 987"/>
                  <a:gd name="T53" fmla="*/ 1030 h 1033"/>
                  <a:gd name="T54" fmla="*/ 40 w 987"/>
                  <a:gd name="T55" fmla="*/ 1033 h 1033"/>
                  <a:gd name="T56" fmla="*/ 58 w 987"/>
                  <a:gd name="T57" fmla="*/ 1033 h 1033"/>
                  <a:gd name="T58" fmla="*/ 88 w 987"/>
                  <a:gd name="T59" fmla="*/ 1031 h 1033"/>
                  <a:gd name="T60" fmla="*/ 188 w 987"/>
                  <a:gd name="T61" fmla="*/ 1009 h 1033"/>
                  <a:gd name="T62" fmla="*/ 242 w 987"/>
                  <a:gd name="T63" fmla="*/ 993 h 1033"/>
                  <a:gd name="T64" fmla="*/ 300 w 987"/>
                  <a:gd name="T65" fmla="*/ 973 h 1033"/>
                  <a:gd name="T66" fmla="*/ 409 w 987"/>
                  <a:gd name="T67" fmla="*/ 922 h 1033"/>
                  <a:gd name="T68" fmla="*/ 507 w 987"/>
                  <a:gd name="T69" fmla="*/ 858 h 1033"/>
                  <a:gd name="T70" fmla="*/ 593 w 987"/>
                  <a:gd name="T71" fmla="*/ 783 h 1033"/>
                  <a:gd name="T72" fmla="*/ 668 w 987"/>
                  <a:gd name="T73" fmla="*/ 696 h 1033"/>
                  <a:gd name="T74" fmla="*/ 729 w 987"/>
                  <a:gd name="T75" fmla="*/ 599 h 1033"/>
                  <a:gd name="T76" fmla="*/ 778 w 987"/>
                  <a:gd name="T77" fmla="*/ 491 h 1033"/>
                  <a:gd name="T78" fmla="*/ 813 w 987"/>
                  <a:gd name="T79" fmla="*/ 374 h 1033"/>
                  <a:gd name="T80" fmla="*/ 825 w 987"/>
                  <a:gd name="T81" fmla="*/ 312 h 1033"/>
                  <a:gd name="T82" fmla="*/ 828 w 987"/>
                  <a:gd name="T83" fmla="*/ 291 h 1033"/>
                  <a:gd name="T84" fmla="*/ 837 w 987"/>
                  <a:gd name="T85" fmla="*/ 265 h 1033"/>
                  <a:gd name="T86" fmla="*/ 853 w 987"/>
                  <a:gd name="T87" fmla="*/ 253 h 1033"/>
                  <a:gd name="T88" fmla="*/ 885 w 987"/>
                  <a:gd name="T89" fmla="*/ 250 h 1033"/>
                  <a:gd name="T90" fmla="*/ 910 w 987"/>
                  <a:gd name="T91" fmla="*/ 250 h 1033"/>
                  <a:gd name="T92" fmla="*/ 987 w 987"/>
                  <a:gd name="T93" fmla="*/ 250 h 1033"/>
                  <a:gd name="T94" fmla="*/ 875 w 987"/>
                  <a:gd name="T95" fmla="*/ 125 h 1033"/>
                  <a:gd name="T96" fmla="*/ 829 w 987"/>
                  <a:gd name="T97" fmla="*/ 75 h 1033"/>
                  <a:gd name="T98" fmla="*/ 761 w 987"/>
                  <a:gd name="T99" fmla="*/ 7 h 1033"/>
                  <a:gd name="T100" fmla="*/ 748 w 987"/>
                  <a:gd name="T101" fmla="*/ 0 h 1033"/>
                  <a:gd name="T102" fmla="*/ 738 w 987"/>
                  <a:gd name="T103" fmla="*/ 6 h 1033"/>
                  <a:gd name="T104" fmla="*/ 680 w 987"/>
                  <a:gd name="T105" fmla="*/ 69 h 1033"/>
                  <a:gd name="T106" fmla="*/ 642 w 987"/>
                  <a:gd name="T107" fmla="*/ 115 h 10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7" h="1033">
                    <a:moveTo>
                      <a:pt x="642" y="115"/>
                    </a:moveTo>
                    <a:lnTo>
                      <a:pt x="605" y="161"/>
                    </a:lnTo>
                    <a:lnTo>
                      <a:pt x="555" y="229"/>
                    </a:lnTo>
                    <a:lnTo>
                      <a:pt x="550" y="240"/>
                    </a:lnTo>
                    <a:lnTo>
                      <a:pt x="554" y="244"/>
                    </a:lnTo>
                    <a:lnTo>
                      <a:pt x="591" y="249"/>
                    </a:lnTo>
                    <a:lnTo>
                      <a:pt x="618" y="250"/>
                    </a:lnTo>
                    <a:lnTo>
                      <a:pt x="688" y="250"/>
                    </a:lnTo>
                    <a:lnTo>
                      <a:pt x="677" y="328"/>
                    </a:lnTo>
                    <a:lnTo>
                      <a:pt x="673" y="351"/>
                    </a:lnTo>
                    <a:lnTo>
                      <a:pt x="662" y="399"/>
                    </a:lnTo>
                    <a:lnTo>
                      <a:pt x="635" y="473"/>
                    </a:lnTo>
                    <a:lnTo>
                      <a:pt x="582" y="570"/>
                    </a:lnTo>
                    <a:lnTo>
                      <a:pt x="514" y="660"/>
                    </a:lnTo>
                    <a:lnTo>
                      <a:pt x="475" y="698"/>
                    </a:lnTo>
                    <a:lnTo>
                      <a:pt x="436" y="734"/>
                    </a:lnTo>
                    <a:lnTo>
                      <a:pt x="351" y="794"/>
                    </a:lnTo>
                    <a:lnTo>
                      <a:pt x="259" y="840"/>
                    </a:lnTo>
                    <a:lnTo>
                      <a:pt x="157" y="874"/>
                    </a:lnTo>
                    <a:lnTo>
                      <a:pt x="102" y="887"/>
                    </a:lnTo>
                    <a:lnTo>
                      <a:pt x="61" y="896"/>
                    </a:lnTo>
                    <a:lnTo>
                      <a:pt x="6" y="914"/>
                    </a:lnTo>
                    <a:lnTo>
                      <a:pt x="0" y="920"/>
                    </a:lnTo>
                    <a:lnTo>
                      <a:pt x="0" y="983"/>
                    </a:lnTo>
                    <a:lnTo>
                      <a:pt x="0" y="999"/>
                    </a:lnTo>
                    <a:lnTo>
                      <a:pt x="4" y="1020"/>
                    </a:lnTo>
                    <a:lnTo>
                      <a:pt x="16" y="1030"/>
                    </a:lnTo>
                    <a:lnTo>
                      <a:pt x="40" y="1033"/>
                    </a:lnTo>
                    <a:lnTo>
                      <a:pt x="58" y="1033"/>
                    </a:lnTo>
                    <a:lnTo>
                      <a:pt x="88" y="1031"/>
                    </a:lnTo>
                    <a:lnTo>
                      <a:pt x="188" y="1009"/>
                    </a:lnTo>
                    <a:lnTo>
                      <a:pt x="242" y="993"/>
                    </a:lnTo>
                    <a:lnTo>
                      <a:pt x="300" y="973"/>
                    </a:lnTo>
                    <a:lnTo>
                      <a:pt x="409" y="922"/>
                    </a:lnTo>
                    <a:lnTo>
                      <a:pt x="507" y="858"/>
                    </a:lnTo>
                    <a:lnTo>
                      <a:pt x="593" y="783"/>
                    </a:lnTo>
                    <a:lnTo>
                      <a:pt x="668" y="696"/>
                    </a:lnTo>
                    <a:lnTo>
                      <a:pt x="729" y="599"/>
                    </a:lnTo>
                    <a:lnTo>
                      <a:pt x="778" y="491"/>
                    </a:lnTo>
                    <a:lnTo>
                      <a:pt x="813" y="374"/>
                    </a:lnTo>
                    <a:lnTo>
                      <a:pt x="825" y="312"/>
                    </a:lnTo>
                    <a:lnTo>
                      <a:pt x="828" y="291"/>
                    </a:lnTo>
                    <a:lnTo>
                      <a:pt x="837" y="265"/>
                    </a:lnTo>
                    <a:lnTo>
                      <a:pt x="853" y="253"/>
                    </a:lnTo>
                    <a:lnTo>
                      <a:pt x="885" y="250"/>
                    </a:lnTo>
                    <a:lnTo>
                      <a:pt x="910" y="250"/>
                    </a:lnTo>
                    <a:lnTo>
                      <a:pt x="987" y="250"/>
                    </a:lnTo>
                    <a:lnTo>
                      <a:pt x="875" y="125"/>
                    </a:lnTo>
                    <a:lnTo>
                      <a:pt x="829" y="75"/>
                    </a:lnTo>
                    <a:lnTo>
                      <a:pt x="761" y="7"/>
                    </a:lnTo>
                    <a:lnTo>
                      <a:pt x="748" y="0"/>
                    </a:lnTo>
                    <a:lnTo>
                      <a:pt x="738" y="6"/>
                    </a:lnTo>
                    <a:lnTo>
                      <a:pt x="680" y="69"/>
                    </a:lnTo>
                    <a:lnTo>
                      <a:pt x="642" y="115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 24"/>
              <p:cNvSpPr>
                <a:spLocks noEditPoints="1"/>
              </p:cNvSpPr>
              <p:nvPr/>
            </p:nvSpPr>
            <p:spPr bwMode="auto">
              <a:xfrm>
                <a:off x="2573" y="1799"/>
                <a:ext cx="824" cy="1232"/>
              </a:xfrm>
              <a:custGeom>
                <a:avLst/>
                <a:gdLst>
                  <a:gd name="T0" fmla="*/ 122 w 748"/>
                  <a:gd name="T1" fmla="*/ 500 h 1118"/>
                  <a:gd name="T2" fmla="*/ 160 w 748"/>
                  <a:gd name="T3" fmla="*/ 519 h 1118"/>
                  <a:gd name="T4" fmla="*/ 230 w 748"/>
                  <a:gd name="T5" fmla="*/ 597 h 1118"/>
                  <a:gd name="T6" fmla="*/ 224 w 748"/>
                  <a:gd name="T7" fmla="*/ 645 h 1118"/>
                  <a:gd name="T8" fmla="*/ 184 w 748"/>
                  <a:gd name="T9" fmla="*/ 630 h 1118"/>
                  <a:gd name="T10" fmla="*/ 152 w 748"/>
                  <a:gd name="T11" fmla="*/ 630 h 1118"/>
                  <a:gd name="T12" fmla="*/ 181 w 748"/>
                  <a:gd name="T13" fmla="*/ 676 h 1118"/>
                  <a:gd name="T14" fmla="*/ 177 w 748"/>
                  <a:gd name="T15" fmla="*/ 705 h 1118"/>
                  <a:gd name="T16" fmla="*/ 141 w 748"/>
                  <a:gd name="T17" fmla="*/ 727 h 1118"/>
                  <a:gd name="T18" fmla="*/ 128 w 748"/>
                  <a:gd name="T19" fmla="*/ 870 h 1118"/>
                  <a:gd name="T20" fmla="*/ 41 w 748"/>
                  <a:gd name="T21" fmla="*/ 1051 h 1118"/>
                  <a:gd name="T22" fmla="*/ 1 w 748"/>
                  <a:gd name="T23" fmla="*/ 1089 h 1118"/>
                  <a:gd name="T24" fmla="*/ 58 w 748"/>
                  <a:gd name="T25" fmla="*/ 1117 h 1118"/>
                  <a:gd name="T26" fmla="*/ 244 w 748"/>
                  <a:gd name="T27" fmla="*/ 1115 h 1118"/>
                  <a:gd name="T28" fmla="*/ 294 w 748"/>
                  <a:gd name="T29" fmla="*/ 1028 h 1118"/>
                  <a:gd name="T30" fmla="*/ 337 w 748"/>
                  <a:gd name="T31" fmla="*/ 692 h 1118"/>
                  <a:gd name="T32" fmla="*/ 371 w 748"/>
                  <a:gd name="T33" fmla="*/ 559 h 1118"/>
                  <a:gd name="T34" fmla="*/ 414 w 748"/>
                  <a:gd name="T35" fmla="*/ 860 h 1118"/>
                  <a:gd name="T36" fmla="*/ 599 w 748"/>
                  <a:gd name="T37" fmla="*/ 1117 h 1118"/>
                  <a:gd name="T38" fmla="*/ 737 w 748"/>
                  <a:gd name="T39" fmla="*/ 1108 h 1118"/>
                  <a:gd name="T40" fmla="*/ 747 w 748"/>
                  <a:gd name="T41" fmla="*/ 1076 h 1118"/>
                  <a:gd name="T42" fmla="*/ 697 w 748"/>
                  <a:gd name="T43" fmla="*/ 1042 h 1118"/>
                  <a:gd name="T44" fmla="*/ 609 w 748"/>
                  <a:gd name="T45" fmla="*/ 625 h 1118"/>
                  <a:gd name="T46" fmla="*/ 633 w 748"/>
                  <a:gd name="T47" fmla="*/ 0 h 1118"/>
                  <a:gd name="T48" fmla="*/ 114 w 748"/>
                  <a:gd name="T49" fmla="*/ 259 h 1118"/>
                  <a:gd name="T50" fmla="*/ 239 w 748"/>
                  <a:gd name="T51" fmla="*/ 64 h 1118"/>
                  <a:gd name="T52" fmla="*/ 218 w 748"/>
                  <a:gd name="T53" fmla="*/ 82 h 1118"/>
                  <a:gd name="T54" fmla="*/ 193 w 748"/>
                  <a:gd name="T55" fmla="*/ 58 h 1118"/>
                  <a:gd name="T56" fmla="*/ 206 w 748"/>
                  <a:gd name="T57" fmla="*/ 18 h 1118"/>
                  <a:gd name="T58" fmla="*/ 235 w 748"/>
                  <a:gd name="T59" fmla="*/ 28 h 1118"/>
                  <a:gd name="T60" fmla="*/ 562 w 748"/>
                  <a:gd name="T61" fmla="*/ 46 h 1118"/>
                  <a:gd name="T62" fmla="*/ 522 w 748"/>
                  <a:gd name="T63" fmla="*/ 79 h 1118"/>
                  <a:gd name="T64" fmla="*/ 503 w 748"/>
                  <a:gd name="T65" fmla="*/ 46 h 1118"/>
                  <a:gd name="T66" fmla="*/ 531 w 748"/>
                  <a:gd name="T67" fmla="*/ 17 h 1118"/>
                  <a:gd name="T68" fmla="*/ 558 w 748"/>
                  <a:gd name="T69" fmla="*/ 35 h 1118"/>
                  <a:gd name="T70" fmla="*/ 195 w 748"/>
                  <a:gd name="T71" fmla="*/ 419 h 1118"/>
                  <a:gd name="T72" fmla="*/ 162 w 748"/>
                  <a:gd name="T73" fmla="*/ 434 h 1118"/>
                  <a:gd name="T74" fmla="*/ 186 w 748"/>
                  <a:gd name="T75" fmla="*/ 395 h 1118"/>
                  <a:gd name="T76" fmla="*/ 231 w 748"/>
                  <a:gd name="T77" fmla="*/ 334 h 1118"/>
                  <a:gd name="T78" fmla="*/ 249 w 748"/>
                  <a:gd name="T79" fmla="*/ 317 h 1118"/>
                  <a:gd name="T80" fmla="*/ 248 w 748"/>
                  <a:gd name="T81" fmla="*/ 349 h 1118"/>
                  <a:gd name="T82" fmla="*/ 529 w 748"/>
                  <a:gd name="T83" fmla="*/ 367 h 1118"/>
                  <a:gd name="T84" fmla="*/ 582 w 748"/>
                  <a:gd name="T85" fmla="*/ 430 h 1118"/>
                  <a:gd name="T86" fmla="*/ 560 w 748"/>
                  <a:gd name="T87" fmla="*/ 439 h 1118"/>
                  <a:gd name="T88" fmla="*/ 508 w 748"/>
                  <a:gd name="T89" fmla="*/ 381 h 1118"/>
                  <a:gd name="T90" fmla="*/ 494 w 748"/>
                  <a:gd name="T91" fmla="*/ 318 h 1118"/>
                  <a:gd name="T92" fmla="*/ 518 w 748"/>
                  <a:gd name="T93" fmla="*/ 337 h 1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48" h="1118">
                    <a:moveTo>
                      <a:pt x="114" y="259"/>
                    </a:moveTo>
                    <a:lnTo>
                      <a:pt x="115" y="411"/>
                    </a:lnTo>
                    <a:lnTo>
                      <a:pt x="122" y="500"/>
                    </a:lnTo>
                    <a:lnTo>
                      <a:pt x="135" y="516"/>
                    </a:lnTo>
                    <a:lnTo>
                      <a:pt x="144" y="517"/>
                    </a:lnTo>
                    <a:lnTo>
                      <a:pt x="160" y="519"/>
                    </a:lnTo>
                    <a:lnTo>
                      <a:pt x="190" y="535"/>
                    </a:lnTo>
                    <a:lnTo>
                      <a:pt x="215" y="563"/>
                    </a:lnTo>
                    <a:lnTo>
                      <a:pt x="230" y="597"/>
                    </a:lnTo>
                    <a:lnTo>
                      <a:pt x="231" y="614"/>
                    </a:lnTo>
                    <a:lnTo>
                      <a:pt x="230" y="628"/>
                    </a:lnTo>
                    <a:lnTo>
                      <a:pt x="224" y="645"/>
                    </a:lnTo>
                    <a:lnTo>
                      <a:pt x="213" y="649"/>
                    </a:lnTo>
                    <a:lnTo>
                      <a:pt x="195" y="640"/>
                    </a:lnTo>
                    <a:lnTo>
                      <a:pt x="184" y="630"/>
                    </a:lnTo>
                    <a:lnTo>
                      <a:pt x="173" y="620"/>
                    </a:lnTo>
                    <a:lnTo>
                      <a:pt x="157" y="618"/>
                    </a:lnTo>
                    <a:lnTo>
                      <a:pt x="152" y="630"/>
                    </a:lnTo>
                    <a:lnTo>
                      <a:pt x="161" y="652"/>
                    </a:lnTo>
                    <a:lnTo>
                      <a:pt x="171" y="665"/>
                    </a:lnTo>
                    <a:lnTo>
                      <a:pt x="181" y="676"/>
                    </a:lnTo>
                    <a:lnTo>
                      <a:pt x="191" y="689"/>
                    </a:lnTo>
                    <a:lnTo>
                      <a:pt x="190" y="698"/>
                    </a:lnTo>
                    <a:lnTo>
                      <a:pt x="177" y="705"/>
                    </a:lnTo>
                    <a:lnTo>
                      <a:pt x="166" y="709"/>
                    </a:lnTo>
                    <a:lnTo>
                      <a:pt x="156" y="712"/>
                    </a:lnTo>
                    <a:lnTo>
                      <a:pt x="141" y="727"/>
                    </a:lnTo>
                    <a:lnTo>
                      <a:pt x="133" y="761"/>
                    </a:lnTo>
                    <a:lnTo>
                      <a:pt x="129" y="823"/>
                    </a:lnTo>
                    <a:lnTo>
                      <a:pt x="128" y="870"/>
                    </a:lnTo>
                    <a:lnTo>
                      <a:pt x="123" y="1022"/>
                    </a:lnTo>
                    <a:lnTo>
                      <a:pt x="64" y="1042"/>
                    </a:lnTo>
                    <a:lnTo>
                      <a:pt x="41" y="1051"/>
                    </a:lnTo>
                    <a:lnTo>
                      <a:pt x="14" y="1070"/>
                    </a:lnTo>
                    <a:lnTo>
                      <a:pt x="3" y="1083"/>
                    </a:lnTo>
                    <a:lnTo>
                      <a:pt x="1" y="1089"/>
                    </a:lnTo>
                    <a:lnTo>
                      <a:pt x="0" y="1097"/>
                    </a:lnTo>
                    <a:lnTo>
                      <a:pt x="9" y="1109"/>
                    </a:lnTo>
                    <a:lnTo>
                      <a:pt x="58" y="1117"/>
                    </a:lnTo>
                    <a:lnTo>
                      <a:pt x="136" y="1117"/>
                    </a:lnTo>
                    <a:lnTo>
                      <a:pt x="192" y="1118"/>
                    </a:lnTo>
                    <a:lnTo>
                      <a:pt x="244" y="1115"/>
                    </a:lnTo>
                    <a:lnTo>
                      <a:pt x="267" y="1102"/>
                    </a:lnTo>
                    <a:lnTo>
                      <a:pt x="283" y="1075"/>
                    </a:lnTo>
                    <a:lnTo>
                      <a:pt x="294" y="1028"/>
                    </a:lnTo>
                    <a:lnTo>
                      <a:pt x="310" y="912"/>
                    </a:lnTo>
                    <a:lnTo>
                      <a:pt x="324" y="787"/>
                    </a:lnTo>
                    <a:lnTo>
                      <a:pt x="337" y="692"/>
                    </a:lnTo>
                    <a:lnTo>
                      <a:pt x="360" y="564"/>
                    </a:lnTo>
                    <a:lnTo>
                      <a:pt x="366" y="550"/>
                    </a:lnTo>
                    <a:lnTo>
                      <a:pt x="371" y="559"/>
                    </a:lnTo>
                    <a:lnTo>
                      <a:pt x="387" y="646"/>
                    </a:lnTo>
                    <a:lnTo>
                      <a:pt x="396" y="709"/>
                    </a:lnTo>
                    <a:lnTo>
                      <a:pt x="414" y="860"/>
                    </a:lnTo>
                    <a:lnTo>
                      <a:pt x="433" y="992"/>
                    </a:lnTo>
                    <a:lnTo>
                      <a:pt x="451" y="1117"/>
                    </a:lnTo>
                    <a:lnTo>
                      <a:pt x="599" y="1117"/>
                    </a:lnTo>
                    <a:lnTo>
                      <a:pt x="646" y="1117"/>
                    </a:lnTo>
                    <a:lnTo>
                      <a:pt x="707" y="1115"/>
                    </a:lnTo>
                    <a:lnTo>
                      <a:pt x="737" y="1108"/>
                    </a:lnTo>
                    <a:lnTo>
                      <a:pt x="747" y="1095"/>
                    </a:lnTo>
                    <a:lnTo>
                      <a:pt x="748" y="1085"/>
                    </a:lnTo>
                    <a:lnTo>
                      <a:pt x="747" y="1076"/>
                    </a:lnTo>
                    <a:lnTo>
                      <a:pt x="740" y="1062"/>
                    </a:lnTo>
                    <a:lnTo>
                      <a:pt x="724" y="1051"/>
                    </a:lnTo>
                    <a:lnTo>
                      <a:pt x="697" y="1042"/>
                    </a:lnTo>
                    <a:lnTo>
                      <a:pt x="678" y="1039"/>
                    </a:lnTo>
                    <a:lnTo>
                      <a:pt x="606" y="1024"/>
                    </a:lnTo>
                    <a:lnTo>
                      <a:pt x="609" y="625"/>
                    </a:lnTo>
                    <a:lnTo>
                      <a:pt x="615" y="290"/>
                    </a:lnTo>
                    <a:lnTo>
                      <a:pt x="623" y="112"/>
                    </a:lnTo>
                    <a:lnTo>
                      <a:pt x="633" y="0"/>
                    </a:lnTo>
                    <a:lnTo>
                      <a:pt x="374" y="0"/>
                    </a:lnTo>
                    <a:lnTo>
                      <a:pt x="114" y="0"/>
                    </a:lnTo>
                    <a:lnTo>
                      <a:pt x="114" y="259"/>
                    </a:lnTo>
                    <a:close/>
                    <a:moveTo>
                      <a:pt x="241" y="35"/>
                    </a:moveTo>
                    <a:lnTo>
                      <a:pt x="244" y="44"/>
                    </a:lnTo>
                    <a:lnTo>
                      <a:pt x="239" y="64"/>
                    </a:lnTo>
                    <a:lnTo>
                      <a:pt x="233" y="72"/>
                    </a:lnTo>
                    <a:lnTo>
                      <a:pt x="227" y="77"/>
                    </a:lnTo>
                    <a:lnTo>
                      <a:pt x="218" y="82"/>
                    </a:lnTo>
                    <a:lnTo>
                      <a:pt x="206" y="79"/>
                    </a:lnTo>
                    <a:lnTo>
                      <a:pt x="198" y="67"/>
                    </a:lnTo>
                    <a:lnTo>
                      <a:pt x="193" y="58"/>
                    </a:lnTo>
                    <a:lnTo>
                      <a:pt x="190" y="40"/>
                    </a:lnTo>
                    <a:lnTo>
                      <a:pt x="195" y="26"/>
                    </a:lnTo>
                    <a:lnTo>
                      <a:pt x="206" y="18"/>
                    </a:lnTo>
                    <a:lnTo>
                      <a:pt x="214" y="17"/>
                    </a:lnTo>
                    <a:lnTo>
                      <a:pt x="221" y="18"/>
                    </a:lnTo>
                    <a:lnTo>
                      <a:pt x="235" y="28"/>
                    </a:lnTo>
                    <a:lnTo>
                      <a:pt x="241" y="35"/>
                    </a:lnTo>
                    <a:close/>
                    <a:moveTo>
                      <a:pt x="558" y="35"/>
                    </a:moveTo>
                    <a:lnTo>
                      <a:pt x="562" y="46"/>
                    </a:lnTo>
                    <a:lnTo>
                      <a:pt x="557" y="66"/>
                    </a:lnTo>
                    <a:lnTo>
                      <a:pt x="542" y="79"/>
                    </a:lnTo>
                    <a:lnTo>
                      <a:pt x="522" y="79"/>
                    </a:lnTo>
                    <a:lnTo>
                      <a:pt x="513" y="72"/>
                    </a:lnTo>
                    <a:lnTo>
                      <a:pt x="506" y="64"/>
                    </a:lnTo>
                    <a:lnTo>
                      <a:pt x="503" y="46"/>
                    </a:lnTo>
                    <a:lnTo>
                      <a:pt x="509" y="29"/>
                    </a:lnTo>
                    <a:lnTo>
                      <a:pt x="522" y="18"/>
                    </a:lnTo>
                    <a:lnTo>
                      <a:pt x="531" y="17"/>
                    </a:lnTo>
                    <a:lnTo>
                      <a:pt x="538" y="18"/>
                    </a:lnTo>
                    <a:lnTo>
                      <a:pt x="552" y="28"/>
                    </a:lnTo>
                    <a:lnTo>
                      <a:pt x="558" y="35"/>
                    </a:lnTo>
                    <a:close/>
                    <a:moveTo>
                      <a:pt x="236" y="370"/>
                    </a:moveTo>
                    <a:lnTo>
                      <a:pt x="221" y="393"/>
                    </a:lnTo>
                    <a:lnTo>
                      <a:pt x="195" y="419"/>
                    </a:lnTo>
                    <a:lnTo>
                      <a:pt x="178" y="430"/>
                    </a:lnTo>
                    <a:lnTo>
                      <a:pt x="171" y="432"/>
                    </a:lnTo>
                    <a:lnTo>
                      <a:pt x="162" y="434"/>
                    </a:lnTo>
                    <a:lnTo>
                      <a:pt x="153" y="432"/>
                    </a:lnTo>
                    <a:lnTo>
                      <a:pt x="162" y="418"/>
                    </a:lnTo>
                    <a:lnTo>
                      <a:pt x="186" y="395"/>
                    </a:lnTo>
                    <a:lnTo>
                      <a:pt x="204" y="376"/>
                    </a:lnTo>
                    <a:lnTo>
                      <a:pt x="228" y="343"/>
                    </a:lnTo>
                    <a:lnTo>
                      <a:pt x="231" y="334"/>
                    </a:lnTo>
                    <a:lnTo>
                      <a:pt x="232" y="327"/>
                    </a:lnTo>
                    <a:lnTo>
                      <a:pt x="242" y="318"/>
                    </a:lnTo>
                    <a:lnTo>
                      <a:pt x="249" y="317"/>
                    </a:lnTo>
                    <a:lnTo>
                      <a:pt x="253" y="318"/>
                    </a:lnTo>
                    <a:lnTo>
                      <a:pt x="255" y="326"/>
                    </a:lnTo>
                    <a:lnTo>
                      <a:pt x="248" y="349"/>
                    </a:lnTo>
                    <a:lnTo>
                      <a:pt x="236" y="370"/>
                    </a:lnTo>
                    <a:close/>
                    <a:moveTo>
                      <a:pt x="523" y="350"/>
                    </a:moveTo>
                    <a:lnTo>
                      <a:pt x="529" y="367"/>
                    </a:lnTo>
                    <a:lnTo>
                      <a:pt x="554" y="403"/>
                    </a:lnTo>
                    <a:lnTo>
                      <a:pt x="569" y="417"/>
                    </a:lnTo>
                    <a:lnTo>
                      <a:pt x="582" y="430"/>
                    </a:lnTo>
                    <a:lnTo>
                      <a:pt x="591" y="446"/>
                    </a:lnTo>
                    <a:lnTo>
                      <a:pt x="583" y="449"/>
                    </a:lnTo>
                    <a:lnTo>
                      <a:pt x="560" y="439"/>
                    </a:lnTo>
                    <a:lnTo>
                      <a:pt x="544" y="427"/>
                    </a:lnTo>
                    <a:lnTo>
                      <a:pt x="532" y="416"/>
                    </a:lnTo>
                    <a:lnTo>
                      <a:pt x="508" y="381"/>
                    </a:lnTo>
                    <a:lnTo>
                      <a:pt x="493" y="345"/>
                    </a:lnTo>
                    <a:lnTo>
                      <a:pt x="490" y="325"/>
                    </a:lnTo>
                    <a:lnTo>
                      <a:pt x="494" y="318"/>
                    </a:lnTo>
                    <a:lnTo>
                      <a:pt x="498" y="317"/>
                    </a:lnTo>
                    <a:lnTo>
                      <a:pt x="504" y="319"/>
                    </a:lnTo>
                    <a:lnTo>
                      <a:pt x="518" y="337"/>
                    </a:lnTo>
                    <a:lnTo>
                      <a:pt x="523" y="35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 25"/>
              <p:cNvSpPr>
                <a:spLocks noEditPoints="1"/>
              </p:cNvSpPr>
              <p:nvPr/>
            </p:nvSpPr>
            <p:spPr bwMode="auto">
              <a:xfrm>
                <a:off x="3310" y="2002"/>
                <a:ext cx="614" cy="617"/>
              </a:xfrm>
              <a:custGeom>
                <a:avLst/>
                <a:gdLst>
                  <a:gd name="T0" fmla="*/ 131 w 557"/>
                  <a:gd name="T1" fmla="*/ 49 h 560"/>
                  <a:gd name="T2" fmla="*/ 136 w 557"/>
                  <a:gd name="T3" fmla="*/ 63 h 560"/>
                  <a:gd name="T4" fmla="*/ 104 w 557"/>
                  <a:gd name="T5" fmla="*/ 115 h 560"/>
                  <a:gd name="T6" fmla="*/ 53 w 557"/>
                  <a:gd name="T7" fmla="*/ 134 h 560"/>
                  <a:gd name="T8" fmla="*/ 3 w 557"/>
                  <a:gd name="T9" fmla="*/ 183 h 560"/>
                  <a:gd name="T10" fmla="*/ 10 w 557"/>
                  <a:gd name="T11" fmla="*/ 213 h 560"/>
                  <a:gd name="T12" fmla="*/ 27 w 557"/>
                  <a:gd name="T13" fmla="*/ 252 h 560"/>
                  <a:gd name="T14" fmla="*/ 16 w 557"/>
                  <a:gd name="T15" fmla="*/ 338 h 560"/>
                  <a:gd name="T16" fmla="*/ 5 w 557"/>
                  <a:gd name="T17" fmla="*/ 354 h 560"/>
                  <a:gd name="T18" fmla="*/ 32 w 557"/>
                  <a:gd name="T19" fmla="*/ 418 h 560"/>
                  <a:gd name="T20" fmla="*/ 62 w 557"/>
                  <a:gd name="T21" fmla="*/ 426 h 560"/>
                  <a:gd name="T22" fmla="*/ 122 w 557"/>
                  <a:gd name="T23" fmla="*/ 492 h 560"/>
                  <a:gd name="T24" fmla="*/ 121 w 557"/>
                  <a:gd name="T25" fmla="*/ 520 h 560"/>
                  <a:gd name="T26" fmla="*/ 179 w 557"/>
                  <a:gd name="T27" fmla="*/ 557 h 560"/>
                  <a:gd name="T28" fmla="*/ 209 w 557"/>
                  <a:gd name="T29" fmla="*/ 551 h 560"/>
                  <a:gd name="T30" fmla="*/ 249 w 557"/>
                  <a:gd name="T31" fmla="*/ 534 h 560"/>
                  <a:gd name="T32" fmla="*/ 334 w 557"/>
                  <a:gd name="T33" fmla="*/ 545 h 560"/>
                  <a:gd name="T34" fmla="*/ 351 w 557"/>
                  <a:gd name="T35" fmla="*/ 556 h 560"/>
                  <a:gd name="T36" fmla="*/ 419 w 557"/>
                  <a:gd name="T37" fmla="*/ 521 h 560"/>
                  <a:gd name="T38" fmla="*/ 421 w 557"/>
                  <a:gd name="T39" fmla="*/ 501 h 560"/>
                  <a:gd name="T40" fmla="*/ 466 w 557"/>
                  <a:gd name="T41" fmla="*/ 441 h 560"/>
                  <a:gd name="T42" fmla="*/ 509 w 557"/>
                  <a:gd name="T43" fmla="*/ 428 h 560"/>
                  <a:gd name="T44" fmla="*/ 538 w 557"/>
                  <a:gd name="T45" fmla="*/ 411 h 560"/>
                  <a:gd name="T46" fmla="*/ 544 w 557"/>
                  <a:gd name="T47" fmla="*/ 342 h 560"/>
                  <a:gd name="T48" fmla="*/ 521 w 557"/>
                  <a:gd name="T49" fmla="*/ 291 h 560"/>
                  <a:gd name="T50" fmla="*/ 542 w 557"/>
                  <a:gd name="T51" fmla="*/ 223 h 560"/>
                  <a:gd name="T52" fmla="*/ 556 w 557"/>
                  <a:gd name="T53" fmla="*/ 188 h 560"/>
                  <a:gd name="T54" fmla="*/ 519 w 557"/>
                  <a:gd name="T55" fmla="*/ 141 h 560"/>
                  <a:gd name="T56" fmla="*/ 498 w 557"/>
                  <a:gd name="T57" fmla="*/ 141 h 560"/>
                  <a:gd name="T58" fmla="*/ 443 w 557"/>
                  <a:gd name="T59" fmla="*/ 101 h 560"/>
                  <a:gd name="T60" fmla="*/ 435 w 557"/>
                  <a:gd name="T61" fmla="*/ 58 h 560"/>
                  <a:gd name="T62" fmla="*/ 421 w 557"/>
                  <a:gd name="T63" fmla="*/ 22 h 560"/>
                  <a:gd name="T64" fmla="*/ 359 w 557"/>
                  <a:gd name="T65" fmla="*/ 1 h 560"/>
                  <a:gd name="T66" fmla="*/ 347 w 557"/>
                  <a:gd name="T67" fmla="*/ 17 h 560"/>
                  <a:gd name="T68" fmla="*/ 265 w 557"/>
                  <a:gd name="T69" fmla="*/ 32 h 560"/>
                  <a:gd name="T70" fmla="*/ 220 w 557"/>
                  <a:gd name="T71" fmla="*/ 16 h 560"/>
                  <a:gd name="T72" fmla="*/ 187 w 557"/>
                  <a:gd name="T73" fmla="*/ 2 h 560"/>
                  <a:gd name="T74" fmla="*/ 319 w 557"/>
                  <a:gd name="T75" fmla="*/ 166 h 560"/>
                  <a:gd name="T76" fmla="*/ 387 w 557"/>
                  <a:gd name="T77" fmla="*/ 233 h 560"/>
                  <a:gd name="T78" fmla="*/ 404 w 557"/>
                  <a:gd name="T79" fmla="*/ 294 h 560"/>
                  <a:gd name="T80" fmla="*/ 381 w 557"/>
                  <a:gd name="T81" fmla="*/ 349 h 560"/>
                  <a:gd name="T82" fmla="*/ 306 w 557"/>
                  <a:gd name="T83" fmla="*/ 405 h 560"/>
                  <a:gd name="T84" fmla="*/ 243 w 557"/>
                  <a:gd name="T85" fmla="*/ 405 h 560"/>
                  <a:gd name="T86" fmla="*/ 175 w 557"/>
                  <a:gd name="T87" fmla="*/ 348 h 560"/>
                  <a:gd name="T88" fmla="*/ 146 w 557"/>
                  <a:gd name="T89" fmla="*/ 292 h 560"/>
                  <a:gd name="T90" fmla="*/ 162 w 557"/>
                  <a:gd name="T91" fmla="*/ 238 h 560"/>
                  <a:gd name="T92" fmla="*/ 229 w 557"/>
                  <a:gd name="T93" fmla="*/ 171 h 560"/>
                  <a:gd name="T94" fmla="*/ 319 w 557"/>
                  <a:gd name="T95" fmla="*/ 166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57" h="560">
                    <a:moveTo>
                      <a:pt x="152" y="23"/>
                    </a:moveTo>
                    <a:lnTo>
                      <a:pt x="140" y="33"/>
                    </a:lnTo>
                    <a:lnTo>
                      <a:pt x="131" y="49"/>
                    </a:lnTo>
                    <a:lnTo>
                      <a:pt x="131" y="57"/>
                    </a:lnTo>
                    <a:lnTo>
                      <a:pt x="134" y="60"/>
                    </a:lnTo>
                    <a:lnTo>
                      <a:pt x="136" y="63"/>
                    </a:lnTo>
                    <a:lnTo>
                      <a:pt x="136" y="73"/>
                    </a:lnTo>
                    <a:lnTo>
                      <a:pt x="128" y="91"/>
                    </a:lnTo>
                    <a:lnTo>
                      <a:pt x="104" y="115"/>
                    </a:lnTo>
                    <a:lnTo>
                      <a:pt x="74" y="131"/>
                    </a:lnTo>
                    <a:lnTo>
                      <a:pt x="60" y="133"/>
                    </a:lnTo>
                    <a:lnTo>
                      <a:pt x="53" y="134"/>
                    </a:lnTo>
                    <a:lnTo>
                      <a:pt x="39" y="139"/>
                    </a:lnTo>
                    <a:lnTo>
                      <a:pt x="20" y="155"/>
                    </a:lnTo>
                    <a:lnTo>
                      <a:pt x="3" y="183"/>
                    </a:lnTo>
                    <a:lnTo>
                      <a:pt x="0" y="202"/>
                    </a:lnTo>
                    <a:lnTo>
                      <a:pt x="5" y="211"/>
                    </a:lnTo>
                    <a:lnTo>
                      <a:pt x="10" y="213"/>
                    </a:lnTo>
                    <a:lnTo>
                      <a:pt x="14" y="215"/>
                    </a:lnTo>
                    <a:lnTo>
                      <a:pt x="21" y="226"/>
                    </a:lnTo>
                    <a:lnTo>
                      <a:pt x="27" y="252"/>
                    </a:lnTo>
                    <a:lnTo>
                      <a:pt x="28" y="296"/>
                    </a:lnTo>
                    <a:lnTo>
                      <a:pt x="22" y="325"/>
                    </a:lnTo>
                    <a:lnTo>
                      <a:pt x="16" y="338"/>
                    </a:lnTo>
                    <a:lnTo>
                      <a:pt x="12" y="341"/>
                    </a:lnTo>
                    <a:lnTo>
                      <a:pt x="8" y="344"/>
                    </a:lnTo>
                    <a:lnTo>
                      <a:pt x="5" y="354"/>
                    </a:lnTo>
                    <a:lnTo>
                      <a:pt x="6" y="373"/>
                    </a:lnTo>
                    <a:lnTo>
                      <a:pt x="18" y="402"/>
                    </a:lnTo>
                    <a:lnTo>
                      <a:pt x="32" y="418"/>
                    </a:lnTo>
                    <a:lnTo>
                      <a:pt x="43" y="424"/>
                    </a:lnTo>
                    <a:lnTo>
                      <a:pt x="49" y="425"/>
                    </a:lnTo>
                    <a:lnTo>
                      <a:pt x="62" y="426"/>
                    </a:lnTo>
                    <a:lnTo>
                      <a:pt x="90" y="442"/>
                    </a:lnTo>
                    <a:lnTo>
                      <a:pt x="112" y="466"/>
                    </a:lnTo>
                    <a:lnTo>
                      <a:pt x="122" y="492"/>
                    </a:lnTo>
                    <a:lnTo>
                      <a:pt x="120" y="503"/>
                    </a:lnTo>
                    <a:lnTo>
                      <a:pt x="119" y="509"/>
                    </a:lnTo>
                    <a:lnTo>
                      <a:pt x="121" y="520"/>
                    </a:lnTo>
                    <a:lnTo>
                      <a:pt x="137" y="538"/>
                    </a:lnTo>
                    <a:lnTo>
                      <a:pt x="157" y="548"/>
                    </a:lnTo>
                    <a:lnTo>
                      <a:pt x="179" y="557"/>
                    </a:lnTo>
                    <a:lnTo>
                      <a:pt x="199" y="560"/>
                    </a:lnTo>
                    <a:lnTo>
                      <a:pt x="207" y="555"/>
                    </a:lnTo>
                    <a:lnTo>
                      <a:pt x="209" y="551"/>
                    </a:lnTo>
                    <a:lnTo>
                      <a:pt x="211" y="547"/>
                    </a:lnTo>
                    <a:lnTo>
                      <a:pt x="222" y="540"/>
                    </a:lnTo>
                    <a:lnTo>
                      <a:pt x="249" y="534"/>
                    </a:lnTo>
                    <a:lnTo>
                      <a:pt x="293" y="533"/>
                    </a:lnTo>
                    <a:lnTo>
                      <a:pt x="321" y="539"/>
                    </a:lnTo>
                    <a:lnTo>
                      <a:pt x="334" y="545"/>
                    </a:lnTo>
                    <a:lnTo>
                      <a:pt x="337" y="550"/>
                    </a:lnTo>
                    <a:lnTo>
                      <a:pt x="340" y="553"/>
                    </a:lnTo>
                    <a:lnTo>
                      <a:pt x="351" y="556"/>
                    </a:lnTo>
                    <a:lnTo>
                      <a:pt x="372" y="553"/>
                    </a:lnTo>
                    <a:lnTo>
                      <a:pt x="404" y="537"/>
                    </a:lnTo>
                    <a:lnTo>
                      <a:pt x="419" y="521"/>
                    </a:lnTo>
                    <a:lnTo>
                      <a:pt x="423" y="511"/>
                    </a:lnTo>
                    <a:lnTo>
                      <a:pt x="422" y="506"/>
                    </a:lnTo>
                    <a:lnTo>
                      <a:pt x="421" y="501"/>
                    </a:lnTo>
                    <a:lnTo>
                      <a:pt x="424" y="489"/>
                    </a:lnTo>
                    <a:lnTo>
                      <a:pt x="437" y="468"/>
                    </a:lnTo>
                    <a:lnTo>
                      <a:pt x="466" y="441"/>
                    </a:lnTo>
                    <a:lnTo>
                      <a:pt x="489" y="429"/>
                    </a:lnTo>
                    <a:lnTo>
                      <a:pt x="503" y="427"/>
                    </a:lnTo>
                    <a:lnTo>
                      <a:pt x="509" y="428"/>
                    </a:lnTo>
                    <a:lnTo>
                      <a:pt x="514" y="429"/>
                    </a:lnTo>
                    <a:lnTo>
                      <a:pt x="524" y="426"/>
                    </a:lnTo>
                    <a:lnTo>
                      <a:pt x="538" y="411"/>
                    </a:lnTo>
                    <a:lnTo>
                      <a:pt x="549" y="380"/>
                    </a:lnTo>
                    <a:lnTo>
                      <a:pt x="549" y="356"/>
                    </a:lnTo>
                    <a:lnTo>
                      <a:pt x="544" y="342"/>
                    </a:lnTo>
                    <a:lnTo>
                      <a:pt x="540" y="336"/>
                    </a:lnTo>
                    <a:lnTo>
                      <a:pt x="531" y="323"/>
                    </a:lnTo>
                    <a:lnTo>
                      <a:pt x="521" y="291"/>
                    </a:lnTo>
                    <a:lnTo>
                      <a:pt x="522" y="259"/>
                    </a:lnTo>
                    <a:lnTo>
                      <a:pt x="532" y="232"/>
                    </a:lnTo>
                    <a:lnTo>
                      <a:pt x="542" y="223"/>
                    </a:lnTo>
                    <a:lnTo>
                      <a:pt x="549" y="218"/>
                    </a:lnTo>
                    <a:lnTo>
                      <a:pt x="557" y="207"/>
                    </a:lnTo>
                    <a:lnTo>
                      <a:pt x="556" y="188"/>
                    </a:lnTo>
                    <a:lnTo>
                      <a:pt x="545" y="168"/>
                    </a:lnTo>
                    <a:lnTo>
                      <a:pt x="537" y="154"/>
                    </a:lnTo>
                    <a:lnTo>
                      <a:pt x="519" y="141"/>
                    </a:lnTo>
                    <a:lnTo>
                      <a:pt x="508" y="138"/>
                    </a:lnTo>
                    <a:lnTo>
                      <a:pt x="504" y="140"/>
                    </a:lnTo>
                    <a:lnTo>
                      <a:pt x="498" y="141"/>
                    </a:lnTo>
                    <a:lnTo>
                      <a:pt x="485" y="139"/>
                    </a:lnTo>
                    <a:lnTo>
                      <a:pt x="465" y="128"/>
                    </a:lnTo>
                    <a:lnTo>
                      <a:pt x="443" y="101"/>
                    </a:lnTo>
                    <a:lnTo>
                      <a:pt x="434" y="78"/>
                    </a:lnTo>
                    <a:lnTo>
                      <a:pt x="433" y="64"/>
                    </a:lnTo>
                    <a:lnTo>
                      <a:pt x="435" y="58"/>
                    </a:lnTo>
                    <a:lnTo>
                      <a:pt x="437" y="51"/>
                    </a:lnTo>
                    <a:lnTo>
                      <a:pt x="435" y="39"/>
                    </a:lnTo>
                    <a:lnTo>
                      <a:pt x="421" y="22"/>
                    </a:lnTo>
                    <a:lnTo>
                      <a:pt x="400" y="11"/>
                    </a:lnTo>
                    <a:lnTo>
                      <a:pt x="377" y="2"/>
                    </a:lnTo>
                    <a:lnTo>
                      <a:pt x="359" y="1"/>
                    </a:lnTo>
                    <a:lnTo>
                      <a:pt x="351" y="7"/>
                    </a:lnTo>
                    <a:lnTo>
                      <a:pt x="349" y="13"/>
                    </a:lnTo>
                    <a:lnTo>
                      <a:pt x="347" y="17"/>
                    </a:lnTo>
                    <a:lnTo>
                      <a:pt x="336" y="24"/>
                    </a:lnTo>
                    <a:lnTo>
                      <a:pt x="310" y="31"/>
                    </a:lnTo>
                    <a:lnTo>
                      <a:pt x="265" y="32"/>
                    </a:lnTo>
                    <a:lnTo>
                      <a:pt x="237" y="27"/>
                    </a:lnTo>
                    <a:lnTo>
                      <a:pt x="224" y="20"/>
                    </a:lnTo>
                    <a:lnTo>
                      <a:pt x="220" y="16"/>
                    </a:lnTo>
                    <a:lnTo>
                      <a:pt x="215" y="8"/>
                    </a:lnTo>
                    <a:lnTo>
                      <a:pt x="203" y="0"/>
                    </a:lnTo>
                    <a:lnTo>
                      <a:pt x="187" y="2"/>
                    </a:lnTo>
                    <a:lnTo>
                      <a:pt x="166" y="13"/>
                    </a:lnTo>
                    <a:lnTo>
                      <a:pt x="152" y="23"/>
                    </a:lnTo>
                    <a:close/>
                    <a:moveTo>
                      <a:pt x="319" y="166"/>
                    </a:moveTo>
                    <a:lnTo>
                      <a:pt x="337" y="175"/>
                    </a:lnTo>
                    <a:lnTo>
                      <a:pt x="374" y="212"/>
                    </a:lnTo>
                    <a:lnTo>
                      <a:pt x="387" y="233"/>
                    </a:lnTo>
                    <a:lnTo>
                      <a:pt x="394" y="248"/>
                    </a:lnTo>
                    <a:lnTo>
                      <a:pt x="403" y="273"/>
                    </a:lnTo>
                    <a:lnTo>
                      <a:pt x="404" y="294"/>
                    </a:lnTo>
                    <a:lnTo>
                      <a:pt x="398" y="316"/>
                    </a:lnTo>
                    <a:lnTo>
                      <a:pt x="392" y="330"/>
                    </a:lnTo>
                    <a:lnTo>
                      <a:pt x="381" y="349"/>
                    </a:lnTo>
                    <a:lnTo>
                      <a:pt x="342" y="386"/>
                    </a:lnTo>
                    <a:lnTo>
                      <a:pt x="320" y="398"/>
                    </a:lnTo>
                    <a:lnTo>
                      <a:pt x="306" y="405"/>
                    </a:lnTo>
                    <a:lnTo>
                      <a:pt x="283" y="412"/>
                    </a:lnTo>
                    <a:lnTo>
                      <a:pt x="264" y="412"/>
                    </a:lnTo>
                    <a:lnTo>
                      <a:pt x="243" y="405"/>
                    </a:lnTo>
                    <a:lnTo>
                      <a:pt x="230" y="398"/>
                    </a:lnTo>
                    <a:lnTo>
                      <a:pt x="212" y="386"/>
                    </a:lnTo>
                    <a:lnTo>
                      <a:pt x="175" y="348"/>
                    </a:lnTo>
                    <a:lnTo>
                      <a:pt x="162" y="328"/>
                    </a:lnTo>
                    <a:lnTo>
                      <a:pt x="155" y="314"/>
                    </a:lnTo>
                    <a:lnTo>
                      <a:pt x="146" y="292"/>
                    </a:lnTo>
                    <a:lnTo>
                      <a:pt x="146" y="274"/>
                    </a:lnTo>
                    <a:lnTo>
                      <a:pt x="155" y="252"/>
                    </a:lnTo>
                    <a:lnTo>
                      <a:pt x="162" y="238"/>
                    </a:lnTo>
                    <a:lnTo>
                      <a:pt x="175" y="219"/>
                    </a:lnTo>
                    <a:lnTo>
                      <a:pt x="211" y="182"/>
                    </a:lnTo>
                    <a:lnTo>
                      <a:pt x="229" y="171"/>
                    </a:lnTo>
                    <a:lnTo>
                      <a:pt x="259" y="156"/>
                    </a:lnTo>
                    <a:lnTo>
                      <a:pt x="289" y="154"/>
                    </a:lnTo>
                    <a:lnTo>
                      <a:pt x="319" y="166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 26"/>
              <p:cNvSpPr>
                <a:spLocks noEditPoints="1"/>
              </p:cNvSpPr>
              <p:nvPr/>
            </p:nvSpPr>
            <p:spPr bwMode="auto">
              <a:xfrm>
                <a:off x="3746" y="2479"/>
                <a:ext cx="459" cy="465"/>
              </a:xfrm>
              <a:custGeom>
                <a:avLst/>
                <a:gdLst>
                  <a:gd name="T0" fmla="*/ 211 w 417"/>
                  <a:gd name="T1" fmla="*/ 23 h 422"/>
                  <a:gd name="T2" fmla="*/ 168 w 417"/>
                  <a:gd name="T3" fmla="*/ 38 h 422"/>
                  <a:gd name="T4" fmla="*/ 110 w 417"/>
                  <a:gd name="T5" fmla="*/ 42 h 422"/>
                  <a:gd name="T6" fmla="*/ 75 w 417"/>
                  <a:gd name="T7" fmla="*/ 61 h 422"/>
                  <a:gd name="T8" fmla="*/ 72 w 417"/>
                  <a:gd name="T9" fmla="*/ 83 h 422"/>
                  <a:gd name="T10" fmla="*/ 49 w 417"/>
                  <a:gd name="T11" fmla="*/ 136 h 422"/>
                  <a:gd name="T12" fmla="*/ 24 w 417"/>
                  <a:gd name="T13" fmla="*/ 150 h 422"/>
                  <a:gd name="T14" fmla="*/ 10 w 417"/>
                  <a:gd name="T15" fmla="*/ 156 h 422"/>
                  <a:gd name="T16" fmla="*/ 0 w 417"/>
                  <a:gd name="T17" fmla="*/ 183 h 422"/>
                  <a:gd name="T18" fmla="*/ 11 w 417"/>
                  <a:gd name="T19" fmla="*/ 215 h 422"/>
                  <a:gd name="T20" fmla="*/ 22 w 417"/>
                  <a:gd name="T21" fmla="*/ 217 h 422"/>
                  <a:gd name="T22" fmla="*/ 34 w 417"/>
                  <a:gd name="T23" fmla="*/ 244 h 422"/>
                  <a:gd name="T24" fmla="*/ 32 w 417"/>
                  <a:gd name="T25" fmla="*/ 288 h 422"/>
                  <a:gd name="T26" fmla="*/ 43 w 417"/>
                  <a:gd name="T27" fmla="*/ 342 h 422"/>
                  <a:gd name="T28" fmla="*/ 84 w 417"/>
                  <a:gd name="T29" fmla="*/ 355 h 422"/>
                  <a:gd name="T30" fmla="*/ 126 w 417"/>
                  <a:gd name="T31" fmla="*/ 375 h 422"/>
                  <a:gd name="T32" fmla="*/ 134 w 417"/>
                  <a:gd name="T33" fmla="*/ 390 h 422"/>
                  <a:gd name="T34" fmla="*/ 147 w 417"/>
                  <a:gd name="T35" fmla="*/ 418 h 422"/>
                  <a:gd name="T36" fmla="*/ 197 w 417"/>
                  <a:gd name="T37" fmla="*/ 414 h 422"/>
                  <a:gd name="T38" fmla="*/ 228 w 417"/>
                  <a:gd name="T39" fmla="*/ 396 h 422"/>
                  <a:gd name="T40" fmla="*/ 282 w 417"/>
                  <a:gd name="T41" fmla="*/ 392 h 422"/>
                  <a:gd name="T42" fmla="*/ 315 w 417"/>
                  <a:gd name="T43" fmla="*/ 390 h 422"/>
                  <a:gd name="T44" fmla="*/ 342 w 417"/>
                  <a:gd name="T45" fmla="*/ 350 h 422"/>
                  <a:gd name="T46" fmla="*/ 348 w 417"/>
                  <a:gd name="T47" fmla="*/ 322 h 422"/>
                  <a:gd name="T48" fmla="*/ 382 w 417"/>
                  <a:gd name="T49" fmla="*/ 285 h 422"/>
                  <a:gd name="T50" fmla="*/ 411 w 417"/>
                  <a:gd name="T51" fmla="*/ 255 h 422"/>
                  <a:gd name="T52" fmla="*/ 411 w 417"/>
                  <a:gd name="T53" fmla="*/ 218 h 422"/>
                  <a:gd name="T54" fmla="*/ 393 w 417"/>
                  <a:gd name="T55" fmla="*/ 208 h 422"/>
                  <a:gd name="T56" fmla="*/ 373 w 417"/>
                  <a:gd name="T57" fmla="*/ 156 h 422"/>
                  <a:gd name="T58" fmla="*/ 380 w 417"/>
                  <a:gd name="T59" fmla="*/ 134 h 422"/>
                  <a:gd name="T60" fmla="*/ 388 w 417"/>
                  <a:gd name="T61" fmla="*/ 133 h 422"/>
                  <a:gd name="T62" fmla="*/ 392 w 417"/>
                  <a:gd name="T63" fmla="*/ 116 h 422"/>
                  <a:gd name="T64" fmla="*/ 376 w 417"/>
                  <a:gd name="T65" fmla="*/ 87 h 422"/>
                  <a:gd name="T66" fmla="*/ 354 w 417"/>
                  <a:gd name="T67" fmla="*/ 74 h 422"/>
                  <a:gd name="T68" fmla="*/ 341 w 417"/>
                  <a:gd name="T69" fmla="*/ 79 h 422"/>
                  <a:gd name="T70" fmla="*/ 299 w 417"/>
                  <a:gd name="T71" fmla="*/ 65 h 422"/>
                  <a:gd name="T72" fmla="*/ 279 w 417"/>
                  <a:gd name="T73" fmla="*/ 32 h 422"/>
                  <a:gd name="T74" fmla="*/ 256 w 417"/>
                  <a:gd name="T75" fmla="*/ 4 h 422"/>
                  <a:gd name="T76" fmla="*/ 219 w 417"/>
                  <a:gd name="T77" fmla="*/ 8 h 422"/>
                  <a:gd name="T78" fmla="*/ 267 w 417"/>
                  <a:gd name="T79" fmla="*/ 150 h 422"/>
                  <a:gd name="T80" fmla="*/ 292 w 417"/>
                  <a:gd name="T81" fmla="*/ 187 h 422"/>
                  <a:gd name="T82" fmla="*/ 297 w 417"/>
                  <a:gd name="T83" fmla="*/ 238 h 422"/>
                  <a:gd name="T84" fmla="*/ 273 w 417"/>
                  <a:gd name="T85" fmla="*/ 280 h 422"/>
                  <a:gd name="T86" fmla="*/ 224 w 417"/>
                  <a:gd name="T87" fmla="*/ 303 h 422"/>
                  <a:gd name="T88" fmla="*/ 193 w 417"/>
                  <a:gd name="T89" fmla="*/ 302 h 422"/>
                  <a:gd name="T90" fmla="*/ 143 w 417"/>
                  <a:gd name="T91" fmla="*/ 276 h 422"/>
                  <a:gd name="T92" fmla="*/ 119 w 417"/>
                  <a:gd name="T93" fmla="*/ 229 h 422"/>
                  <a:gd name="T94" fmla="*/ 125 w 417"/>
                  <a:gd name="T95" fmla="*/ 176 h 422"/>
                  <a:gd name="T96" fmla="*/ 154 w 417"/>
                  <a:gd name="T97" fmla="*/ 143 h 422"/>
                  <a:gd name="T98" fmla="*/ 201 w 417"/>
                  <a:gd name="T99" fmla="*/ 119 h 422"/>
                  <a:gd name="T100" fmla="*/ 253 w 417"/>
                  <a:gd name="T101" fmla="*/ 136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17" h="422">
                    <a:moveTo>
                      <a:pt x="214" y="18"/>
                    </a:moveTo>
                    <a:lnTo>
                      <a:pt x="211" y="23"/>
                    </a:lnTo>
                    <a:lnTo>
                      <a:pt x="199" y="30"/>
                    </a:lnTo>
                    <a:lnTo>
                      <a:pt x="168" y="38"/>
                    </a:lnTo>
                    <a:lnTo>
                      <a:pt x="142" y="40"/>
                    </a:lnTo>
                    <a:lnTo>
                      <a:pt x="110" y="42"/>
                    </a:lnTo>
                    <a:lnTo>
                      <a:pt x="83" y="51"/>
                    </a:lnTo>
                    <a:lnTo>
                      <a:pt x="75" y="61"/>
                    </a:lnTo>
                    <a:lnTo>
                      <a:pt x="74" y="67"/>
                    </a:lnTo>
                    <a:lnTo>
                      <a:pt x="72" y="83"/>
                    </a:lnTo>
                    <a:lnTo>
                      <a:pt x="63" y="113"/>
                    </a:lnTo>
                    <a:lnTo>
                      <a:pt x="49" y="136"/>
                    </a:lnTo>
                    <a:lnTo>
                      <a:pt x="32" y="149"/>
                    </a:lnTo>
                    <a:lnTo>
                      <a:pt x="24" y="150"/>
                    </a:lnTo>
                    <a:lnTo>
                      <a:pt x="19" y="150"/>
                    </a:lnTo>
                    <a:lnTo>
                      <a:pt x="10" y="156"/>
                    </a:lnTo>
                    <a:lnTo>
                      <a:pt x="2" y="170"/>
                    </a:lnTo>
                    <a:lnTo>
                      <a:pt x="0" y="183"/>
                    </a:lnTo>
                    <a:lnTo>
                      <a:pt x="1" y="197"/>
                    </a:lnTo>
                    <a:lnTo>
                      <a:pt x="11" y="215"/>
                    </a:lnTo>
                    <a:lnTo>
                      <a:pt x="19" y="217"/>
                    </a:lnTo>
                    <a:lnTo>
                      <a:pt x="22" y="217"/>
                    </a:lnTo>
                    <a:lnTo>
                      <a:pt x="28" y="224"/>
                    </a:lnTo>
                    <a:lnTo>
                      <a:pt x="34" y="244"/>
                    </a:lnTo>
                    <a:lnTo>
                      <a:pt x="34" y="262"/>
                    </a:lnTo>
                    <a:lnTo>
                      <a:pt x="32" y="288"/>
                    </a:lnTo>
                    <a:lnTo>
                      <a:pt x="33" y="323"/>
                    </a:lnTo>
                    <a:lnTo>
                      <a:pt x="43" y="342"/>
                    </a:lnTo>
                    <a:lnTo>
                      <a:pt x="66" y="351"/>
                    </a:lnTo>
                    <a:lnTo>
                      <a:pt x="84" y="355"/>
                    </a:lnTo>
                    <a:lnTo>
                      <a:pt x="104" y="361"/>
                    </a:lnTo>
                    <a:lnTo>
                      <a:pt x="126" y="375"/>
                    </a:lnTo>
                    <a:lnTo>
                      <a:pt x="133" y="385"/>
                    </a:lnTo>
                    <a:lnTo>
                      <a:pt x="134" y="390"/>
                    </a:lnTo>
                    <a:lnTo>
                      <a:pt x="135" y="402"/>
                    </a:lnTo>
                    <a:lnTo>
                      <a:pt x="147" y="418"/>
                    </a:lnTo>
                    <a:lnTo>
                      <a:pt x="169" y="422"/>
                    </a:lnTo>
                    <a:lnTo>
                      <a:pt x="197" y="414"/>
                    </a:lnTo>
                    <a:lnTo>
                      <a:pt x="212" y="405"/>
                    </a:lnTo>
                    <a:lnTo>
                      <a:pt x="228" y="396"/>
                    </a:lnTo>
                    <a:lnTo>
                      <a:pt x="267" y="388"/>
                    </a:lnTo>
                    <a:lnTo>
                      <a:pt x="282" y="392"/>
                    </a:lnTo>
                    <a:lnTo>
                      <a:pt x="294" y="394"/>
                    </a:lnTo>
                    <a:lnTo>
                      <a:pt x="315" y="390"/>
                    </a:lnTo>
                    <a:lnTo>
                      <a:pt x="331" y="375"/>
                    </a:lnTo>
                    <a:lnTo>
                      <a:pt x="342" y="350"/>
                    </a:lnTo>
                    <a:lnTo>
                      <a:pt x="345" y="333"/>
                    </a:lnTo>
                    <a:lnTo>
                      <a:pt x="348" y="322"/>
                    </a:lnTo>
                    <a:lnTo>
                      <a:pt x="368" y="296"/>
                    </a:lnTo>
                    <a:lnTo>
                      <a:pt x="382" y="285"/>
                    </a:lnTo>
                    <a:lnTo>
                      <a:pt x="394" y="276"/>
                    </a:lnTo>
                    <a:lnTo>
                      <a:pt x="411" y="255"/>
                    </a:lnTo>
                    <a:lnTo>
                      <a:pt x="417" y="234"/>
                    </a:lnTo>
                    <a:lnTo>
                      <a:pt x="411" y="218"/>
                    </a:lnTo>
                    <a:lnTo>
                      <a:pt x="402" y="213"/>
                    </a:lnTo>
                    <a:lnTo>
                      <a:pt x="393" y="208"/>
                    </a:lnTo>
                    <a:lnTo>
                      <a:pt x="380" y="185"/>
                    </a:lnTo>
                    <a:lnTo>
                      <a:pt x="373" y="156"/>
                    </a:lnTo>
                    <a:lnTo>
                      <a:pt x="375" y="140"/>
                    </a:lnTo>
                    <a:lnTo>
                      <a:pt x="380" y="134"/>
                    </a:lnTo>
                    <a:lnTo>
                      <a:pt x="384" y="133"/>
                    </a:lnTo>
                    <a:lnTo>
                      <a:pt x="388" y="133"/>
                    </a:lnTo>
                    <a:lnTo>
                      <a:pt x="393" y="129"/>
                    </a:lnTo>
                    <a:lnTo>
                      <a:pt x="392" y="116"/>
                    </a:lnTo>
                    <a:lnTo>
                      <a:pt x="384" y="100"/>
                    </a:lnTo>
                    <a:lnTo>
                      <a:pt x="376" y="87"/>
                    </a:lnTo>
                    <a:lnTo>
                      <a:pt x="362" y="76"/>
                    </a:lnTo>
                    <a:lnTo>
                      <a:pt x="354" y="74"/>
                    </a:lnTo>
                    <a:lnTo>
                      <a:pt x="350" y="75"/>
                    </a:lnTo>
                    <a:lnTo>
                      <a:pt x="341" y="79"/>
                    </a:lnTo>
                    <a:lnTo>
                      <a:pt x="320" y="78"/>
                    </a:lnTo>
                    <a:lnTo>
                      <a:pt x="299" y="65"/>
                    </a:lnTo>
                    <a:lnTo>
                      <a:pt x="283" y="44"/>
                    </a:lnTo>
                    <a:lnTo>
                      <a:pt x="279" y="32"/>
                    </a:lnTo>
                    <a:lnTo>
                      <a:pt x="274" y="19"/>
                    </a:lnTo>
                    <a:lnTo>
                      <a:pt x="256" y="4"/>
                    </a:lnTo>
                    <a:lnTo>
                      <a:pt x="236" y="0"/>
                    </a:lnTo>
                    <a:lnTo>
                      <a:pt x="219" y="8"/>
                    </a:lnTo>
                    <a:lnTo>
                      <a:pt x="214" y="18"/>
                    </a:lnTo>
                    <a:close/>
                    <a:moveTo>
                      <a:pt x="267" y="150"/>
                    </a:moveTo>
                    <a:lnTo>
                      <a:pt x="278" y="162"/>
                    </a:lnTo>
                    <a:lnTo>
                      <a:pt x="292" y="187"/>
                    </a:lnTo>
                    <a:lnTo>
                      <a:pt x="298" y="213"/>
                    </a:lnTo>
                    <a:lnTo>
                      <a:pt x="297" y="238"/>
                    </a:lnTo>
                    <a:lnTo>
                      <a:pt x="288" y="261"/>
                    </a:lnTo>
                    <a:lnTo>
                      <a:pt x="273" y="280"/>
                    </a:lnTo>
                    <a:lnTo>
                      <a:pt x="251" y="295"/>
                    </a:lnTo>
                    <a:lnTo>
                      <a:pt x="224" y="303"/>
                    </a:lnTo>
                    <a:lnTo>
                      <a:pt x="209" y="303"/>
                    </a:lnTo>
                    <a:lnTo>
                      <a:pt x="193" y="302"/>
                    </a:lnTo>
                    <a:lnTo>
                      <a:pt x="165" y="293"/>
                    </a:lnTo>
                    <a:lnTo>
                      <a:pt x="143" y="276"/>
                    </a:lnTo>
                    <a:lnTo>
                      <a:pt x="127" y="254"/>
                    </a:lnTo>
                    <a:lnTo>
                      <a:pt x="119" y="229"/>
                    </a:lnTo>
                    <a:lnTo>
                      <a:pt x="118" y="202"/>
                    </a:lnTo>
                    <a:lnTo>
                      <a:pt x="125" y="176"/>
                    </a:lnTo>
                    <a:lnTo>
                      <a:pt x="141" y="153"/>
                    </a:lnTo>
                    <a:lnTo>
                      <a:pt x="154" y="143"/>
                    </a:lnTo>
                    <a:lnTo>
                      <a:pt x="172" y="131"/>
                    </a:lnTo>
                    <a:lnTo>
                      <a:pt x="201" y="119"/>
                    </a:lnTo>
                    <a:lnTo>
                      <a:pt x="227" y="120"/>
                    </a:lnTo>
                    <a:lnTo>
                      <a:pt x="253" y="136"/>
                    </a:lnTo>
                    <a:lnTo>
                      <a:pt x="267" y="150"/>
                    </a:lnTo>
                    <a:close/>
                  </a:path>
                </a:pathLst>
              </a:custGeom>
              <a:solidFill>
                <a:schemeClr val="bg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" name="Freeform 39"/>
              <p:cNvSpPr>
                <a:spLocks/>
              </p:cNvSpPr>
              <p:nvPr/>
            </p:nvSpPr>
            <p:spPr bwMode="auto">
              <a:xfrm>
                <a:off x="3823" y="4104"/>
                <a:ext cx="12" cy="69"/>
              </a:xfrm>
              <a:custGeom>
                <a:avLst/>
                <a:gdLst>
                  <a:gd name="T0" fmla="*/ 0 w 11"/>
                  <a:gd name="T1" fmla="*/ 33 h 62"/>
                  <a:gd name="T2" fmla="*/ 1 w 11"/>
                  <a:gd name="T3" fmla="*/ 51 h 62"/>
                  <a:gd name="T4" fmla="*/ 4 w 11"/>
                  <a:gd name="T5" fmla="*/ 62 h 62"/>
                  <a:gd name="T6" fmla="*/ 7 w 11"/>
                  <a:gd name="T7" fmla="*/ 59 h 62"/>
                  <a:gd name="T8" fmla="*/ 9 w 11"/>
                  <a:gd name="T9" fmla="*/ 53 h 62"/>
                  <a:gd name="T10" fmla="*/ 11 w 11"/>
                  <a:gd name="T11" fmla="*/ 41 h 62"/>
                  <a:gd name="T12" fmla="*/ 11 w 11"/>
                  <a:gd name="T13" fmla="*/ 14 h 62"/>
                  <a:gd name="T14" fmla="*/ 9 w 11"/>
                  <a:gd name="T15" fmla="*/ 3 h 62"/>
                  <a:gd name="T16" fmla="*/ 7 w 11"/>
                  <a:gd name="T17" fmla="*/ 0 h 62"/>
                  <a:gd name="T18" fmla="*/ 4 w 11"/>
                  <a:gd name="T19" fmla="*/ 1 h 62"/>
                  <a:gd name="T20" fmla="*/ 1 w 11"/>
                  <a:gd name="T21" fmla="*/ 14 h 62"/>
                  <a:gd name="T22" fmla="*/ 0 w 11"/>
                  <a:gd name="T23" fmla="*/ 3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62">
                    <a:moveTo>
                      <a:pt x="0" y="33"/>
                    </a:moveTo>
                    <a:lnTo>
                      <a:pt x="1" y="51"/>
                    </a:lnTo>
                    <a:lnTo>
                      <a:pt x="4" y="62"/>
                    </a:lnTo>
                    <a:lnTo>
                      <a:pt x="7" y="59"/>
                    </a:lnTo>
                    <a:lnTo>
                      <a:pt x="9" y="53"/>
                    </a:lnTo>
                    <a:lnTo>
                      <a:pt x="11" y="41"/>
                    </a:lnTo>
                    <a:lnTo>
                      <a:pt x="11" y="14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4" y="1"/>
                    </a:lnTo>
                    <a:lnTo>
                      <a:pt x="1" y="14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6" name="TextBox 75"/>
          <p:cNvSpPr txBox="1"/>
          <p:nvPr/>
        </p:nvSpPr>
        <p:spPr>
          <a:xfrm>
            <a:off x="263834" y="191421"/>
            <a:ext cx="64139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ROGRAMLARIMIZDAN YARARLANABİLECEK FİRMALA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1" i="0" u="none" strike="noStrike" kern="1200" cap="none" spc="600" normalizeH="0" baseline="0" noProof="0" dirty="0">
              <a:ln>
                <a:noFill/>
              </a:ln>
              <a:solidFill>
                <a:srgbClr val="A609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Freeform 27"/>
          <p:cNvSpPr>
            <a:spLocks/>
          </p:cNvSpPr>
          <p:nvPr/>
        </p:nvSpPr>
        <p:spPr bwMode="auto">
          <a:xfrm>
            <a:off x="1260084" y="1774761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Freeform 27"/>
          <p:cNvSpPr>
            <a:spLocks/>
          </p:cNvSpPr>
          <p:nvPr/>
        </p:nvSpPr>
        <p:spPr bwMode="auto">
          <a:xfrm>
            <a:off x="1528594" y="1774761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Freeform 27"/>
          <p:cNvSpPr>
            <a:spLocks/>
          </p:cNvSpPr>
          <p:nvPr/>
        </p:nvSpPr>
        <p:spPr bwMode="auto">
          <a:xfrm>
            <a:off x="1798720" y="1777802"/>
            <a:ext cx="240193" cy="108685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Freeform 27"/>
          <p:cNvSpPr>
            <a:spLocks/>
          </p:cNvSpPr>
          <p:nvPr/>
        </p:nvSpPr>
        <p:spPr bwMode="auto">
          <a:xfrm>
            <a:off x="2327583" y="1897741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Freeform 27"/>
          <p:cNvSpPr>
            <a:spLocks/>
          </p:cNvSpPr>
          <p:nvPr/>
        </p:nvSpPr>
        <p:spPr bwMode="auto">
          <a:xfrm>
            <a:off x="1258066" y="1901392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Freeform 27"/>
          <p:cNvSpPr>
            <a:spLocks/>
          </p:cNvSpPr>
          <p:nvPr/>
        </p:nvSpPr>
        <p:spPr bwMode="auto">
          <a:xfrm>
            <a:off x="1527630" y="1897603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Freeform 27"/>
          <p:cNvSpPr>
            <a:spLocks/>
          </p:cNvSpPr>
          <p:nvPr/>
        </p:nvSpPr>
        <p:spPr bwMode="auto">
          <a:xfrm>
            <a:off x="1795568" y="1894440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Freeform 27"/>
          <p:cNvSpPr>
            <a:spLocks/>
          </p:cNvSpPr>
          <p:nvPr/>
        </p:nvSpPr>
        <p:spPr bwMode="auto">
          <a:xfrm>
            <a:off x="2065132" y="1901392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Freeform 27"/>
          <p:cNvSpPr>
            <a:spLocks/>
          </p:cNvSpPr>
          <p:nvPr/>
        </p:nvSpPr>
        <p:spPr bwMode="auto">
          <a:xfrm>
            <a:off x="7431755" y="2631236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Freeform 27"/>
          <p:cNvSpPr>
            <a:spLocks/>
          </p:cNvSpPr>
          <p:nvPr/>
        </p:nvSpPr>
        <p:spPr bwMode="auto">
          <a:xfrm>
            <a:off x="7690507" y="2631993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Freeform 27"/>
          <p:cNvSpPr>
            <a:spLocks/>
          </p:cNvSpPr>
          <p:nvPr/>
        </p:nvSpPr>
        <p:spPr bwMode="auto">
          <a:xfrm>
            <a:off x="7943571" y="2625461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Freeform 27"/>
          <p:cNvSpPr>
            <a:spLocks/>
          </p:cNvSpPr>
          <p:nvPr/>
        </p:nvSpPr>
        <p:spPr bwMode="auto">
          <a:xfrm>
            <a:off x="8198260" y="2622207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" name="Freeform 27"/>
          <p:cNvSpPr>
            <a:spLocks/>
          </p:cNvSpPr>
          <p:nvPr/>
        </p:nvSpPr>
        <p:spPr bwMode="auto">
          <a:xfrm>
            <a:off x="7166855" y="2631236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Freeform 27"/>
          <p:cNvSpPr>
            <a:spLocks/>
          </p:cNvSpPr>
          <p:nvPr/>
        </p:nvSpPr>
        <p:spPr bwMode="auto">
          <a:xfrm>
            <a:off x="7423292" y="2515172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Freeform 27"/>
          <p:cNvSpPr>
            <a:spLocks/>
          </p:cNvSpPr>
          <p:nvPr/>
        </p:nvSpPr>
        <p:spPr bwMode="auto">
          <a:xfrm>
            <a:off x="7686344" y="2515172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Freeform 27"/>
          <p:cNvSpPr>
            <a:spLocks/>
          </p:cNvSpPr>
          <p:nvPr/>
        </p:nvSpPr>
        <p:spPr bwMode="auto">
          <a:xfrm>
            <a:off x="7166854" y="2517618"/>
            <a:ext cx="233945" cy="105810"/>
          </a:xfrm>
          <a:custGeom>
            <a:avLst/>
            <a:gdLst>
              <a:gd name="T0" fmla="*/ 0 w 367"/>
              <a:gd name="T1" fmla="*/ 84 h 167"/>
              <a:gd name="T2" fmla="*/ 0 w 367"/>
              <a:gd name="T3" fmla="*/ 167 h 167"/>
              <a:gd name="T4" fmla="*/ 184 w 367"/>
              <a:gd name="T5" fmla="*/ 167 h 167"/>
              <a:gd name="T6" fmla="*/ 367 w 367"/>
              <a:gd name="T7" fmla="*/ 167 h 167"/>
              <a:gd name="T8" fmla="*/ 367 w 367"/>
              <a:gd name="T9" fmla="*/ 84 h 167"/>
              <a:gd name="T10" fmla="*/ 367 w 367"/>
              <a:gd name="T11" fmla="*/ 0 h 167"/>
              <a:gd name="T12" fmla="*/ 184 w 367"/>
              <a:gd name="T13" fmla="*/ 0 h 167"/>
              <a:gd name="T14" fmla="*/ 0 w 367"/>
              <a:gd name="T15" fmla="*/ 0 h 167"/>
              <a:gd name="T16" fmla="*/ 0 w 367"/>
              <a:gd name="T17" fmla="*/ 84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7" h="167">
                <a:moveTo>
                  <a:pt x="0" y="84"/>
                </a:moveTo>
                <a:lnTo>
                  <a:pt x="0" y="167"/>
                </a:lnTo>
                <a:lnTo>
                  <a:pt x="184" y="167"/>
                </a:lnTo>
                <a:lnTo>
                  <a:pt x="367" y="167"/>
                </a:lnTo>
                <a:lnTo>
                  <a:pt x="367" y="84"/>
                </a:lnTo>
                <a:lnTo>
                  <a:pt x="367" y="0"/>
                </a:lnTo>
                <a:lnTo>
                  <a:pt x="184" y="0"/>
                </a:lnTo>
                <a:lnTo>
                  <a:pt x="0" y="0"/>
                </a:lnTo>
                <a:lnTo>
                  <a:pt x="0" y="84"/>
                </a:lnTo>
                <a:close/>
              </a:path>
            </a:pathLst>
          </a:custGeom>
          <a:solidFill>
            <a:srgbClr val="B51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80" name="Rectangle 79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82" name="Freeform 81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83" name="Freeform 82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93" name="Picture 9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74183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74" grpId="0"/>
      <p:bldP spid="7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020666" y="1741693"/>
            <a:ext cx="4222616" cy="4485546"/>
            <a:chOff x="626488" y="710907"/>
            <a:chExt cx="2604644" cy="4989508"/>
          </a:xfrm>
        </p:grpSpPr>
        <p:grpSp>
          <p:nvGrpSpPr>
            <p:cNvPr id="8" name="Group 7"/>
            <p:cNvGrpSpPr/>
            <p:nvPr/>
          </p:nvGrpSpPr>
          <p:grpSpPr>
            <a:xfrm>
              <a:off x="825499" y="710907"/>
              <a:ext cx="2209800" cy="4989508"/>
              <a:chOff x="1079500" y="865192"/>
              <a:chExt cx="2209800" cy="4989508"/>
            </a:xfrm>
          </p:grpSpPr>
          <p:sp>
            <p:nvSpPr>
              <p:cNvPr id="10" name="Round Same Side Corner Rectangle 9"/>
              <p:cNvSpPr/>
              <p:nvPr/>
            </p:nvSpPr>
            <p:spPr>
              <a:xfrm>
                <a:off x="1079500" y="865192"/>
                <a:ext cx="2209800" cy="2743200"/>
              </a:xfrm>
              <a:prstGeom prst="round2SameRect">
                <a:avLst/>
              </a:prstGeom>
              <a:solidFill>
                <a:srgbClr val="A6A6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>
              <a:xfrm flipV="1">
                <a:off x="1079500" y="1879600"/>
                <a:ext cx="2209800" cy="3975100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27000" sx="107000" sy="107000" algn="ctr" rotWithShape="0">
                  <a:schemeClr val="tx1">
                    <a:alpha val="2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626488" y="867389"/>
              <a:ext cx="2604644" cy="6299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50900" algn="l"/>
                  <a:tab pos="1616075" algn="l"/>
                  <a:tab pos="2959100" algn="l"/>
                  <a:tab pos="4098925" algn="l"/>
                  <a:tab pos="5426075" algn="l"/>
                </a:tabLst>
                <a:defRPr/>
              </a:pPr>
              <a:r>
                <a: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Satış Sürecinde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648991" y="1741693"/>
            <a:ext cx="3786426" cy="4453093"/>
            <a:chOff x="863600" y="1834061"/>
            <a:chExt cx="2209800" cy="4989508"/>
          </a:xfrm>
        </p:grpSpPr>
        <p:grpSp>
          <p:nvGrpSpPr>
            <p:cNvPr id="13" name="Group 12"/>
            <p:cNvGrpSpPr/>
            <p:nvPr/>
          </p:nvGrpSpPr>
          <p:grpSpPr>
            <a:xfrm>
              <a:off x="863600" y="1834061"/>
              <a:ext cx="2209800" cy="4989508"/>
              <a:chOff x="1079500" y="865192"/>
              <a:chExt cx="2209800" cy="4989508"/>
            </a:xfrm>
          </p:grpSpPr>
          <p:sp>
            <p:nvSpPr>
              <p:cNvPr id="15" name="Round Same Side Corner Rectangle 14"/>
              <p:cNvSpPr/>
              <p:nvPr/>
            </p:nvSpPr>
            <p:spPr>
              <a:xfrm>
                <a:off x="1079500" y="865192"/>
                <a:ext cx="2209800" cy="2743200"/>
              </a:xfrm>
              <a:prstGeom prst="round2SameRect">
                <a:avLst/>
              </a:prstGeom>
              <a:solidFill>
                <a:srgbClr val="A60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A60933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" name="Freeform 15"/>
              <p:cNvSpPr/>
              <p:nvPr/>
            </p:nvSpPr>
            <p:spPr>
              <a:xfrm flipV="1">
                <a:off x="1079500" y="1879600"/>
                <a:ext cx="2209800" cy="3975100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127000" sx="107000" sy="107000" algn="ctr" rotWithShape="0">
                  <a:schemeClr val="tx1">
                    <a:alpha val="23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1141605" y="1995823"/>
              <a:ext cx="1718099" cy="6345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50900" algn="l"/>
                  <a:tab pos="1616075" algn="l"/>
                  <a:tab pos="2959100" algn="l"/>
                  <a:tab pos="4098925" algn="l"/>
                  <a:tab pos="5426075" algn="l"/>
                </a:tabLst>
                <a:defRPr/>
              </a:pPr>
              <a:r>
                <a: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Tahoma" pitchFamily="34" charset="0"/>
                  <a:cs typeface="Times New Roman" panose="02020603050405020304" pitchFamily="18" charset="0"/>
                </a:rPr>
                <a:t>Üretim Sürecinde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1795404" y="3238539"/>
            <a:ext cx="33577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012901" y="2970347"/>
            <a:ext cx="392314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628650" marR="0" lvl="1" indent="-17145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Güvenceli satışın temini</a:t>
            </a:r>
          </a:p>
          <a:p>
            <a:pPr marL="742950" marR="0" lvl="1" indent="-28575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Yeni pazarlara açılmanın teşvik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00100" marR="0" lvl="1" indent="-34290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Uluslararası Krediler             </a:t>
            </a:r>
          </a:p>
          <a:p>
            <a:pPr marL="800100" marR="0" lvl="1" indent="-34290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pP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00100" marR="0" lvl="1" indent="-34290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lıcının finansman </a:t>
            </a:r>
            <a:r>
              <a:rPr kumimoji="0" lang="tr-T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ısıtının</a:t>
            </a: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ortadan kaldırılması</a:t>
            </a:r>
            <a:endParaRPr kumimoji="0" lang="tr-TR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800100" marR="0" lvl="1" indent="-34290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roje finansmanı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99505" y="214357"/>
            <a:ext cx="97365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tr-TR" sz="24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HRACATÇILARIMIZ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tr-TR" sz="24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ÜRETİM VE SATIŞ SÜRECİNDE DESTEK</a:t>
            </a:r>
          </a:p>
        </p:txBody>
      </p:sp>
      <p:sp>
        <p:nvSpPr>
          <p:cNvPr id="30" name="Rectangle 12"/>
          <p:cNvSpPr/>
          <p:nvPr/>
        </p:nvSpPr>
        <p:spPr>
          <a:xfrm>
            <a:off x="1873991" y="3549534"/>
            <a:ext cx="3277977" cy="65828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tr-TR" sz="1799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şletme Sermayesi Finansmanı Kısa Vadeli </a:t>
            </a:r>
          </a:p>
        </p:txBody>
      </p:sp>
      <p:sp>
        <p:nvSpPr>
          <p:cNvPr id="31" name="Rectangle 12"/>
          <p:cNvSpPr/>
          <p:nvPr/>
        </p:nvSpPr>
        <p:spPr>
          <a:xfrm>
            <a:off x="1873992" y="4549192"/>
            <a:ext cx="3336424" cy="6618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marR="0" lvl="1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tr-TR" sz="1799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</a:t>
            </a: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Yeni Yatırımların Finansmanı  Orta/Uzun Vadeli</a:t>
            </a:r>
          </a:p>
        </p:txBody>
      </p:sp>
      <p:sp>
        <p:nvSpPr>
          <p:cNvPr id="32" name="Rectangle 12"/>
          <p:cNvSpPr/>
          <p:nvPr/>
        </p:nvSpPr>
        <p:spPr>
          <a:xfrm>
            <a:off x="6492985" y="3238539"/>
            <a:ext cx="3277977" cy="54375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hracat Alacakları Sigortası</a:t>
            </a:r>
          </a:p>
        </p:txBody>
      </p:sp>
      <p:sp>
        <p:nvSpPr>
          <p:cNvPr id="33" name="Rectangle 12"/>
          <p:cNvSpPr/>
          <p:nvPr/>
        </p:nvSpPr>
        <p:spPr>
          <a:xfrm>
            <a:off x="6492985" y="4524524"/>
            <a:ext cx="3277977" cy="62871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Uluslararası Krediler                     (Alıcı Kredileri)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27" name="Rectangle 26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9" name="Freeform 28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1" name="Freeform 40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42" name="Picture 4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88958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World Map">
            <a:extLst>
              <a:ext uri="{FF2B5EF4-FFF2-40B4-BE49-F238E27FC236}">
                <a16:creationId xmlns:a16="http://schemas.microsoft.com/office/drawing/2014/main" id="{5893962E-2C90-4F11-86FC-9E2E8532074E}"/>
              </a:ext>
            </a:extLst>
          </p:cNvPr>
          <p:cNvGrpSpPr>
            <a:grpSpLocks noChangeAspect="1"/>
          </p:cNvGrpSpPr>
          <p:nvPr/>
        </p:nvGrpSpPr>
        <p:grpSpPr>
          <a:xfrm>
            <a:off x="-490631" y="0"/>
            <a:ext cx="13231135" cy="7082971"/>
            <a:chOff x="399011" y="834814"/>
            <a:chExt cx="8342794" cy="4070611"/>
          </a:xfrm>
          <a:solidFill>
            <a:schemeClr val="tx2">
              <a:lumMod val="20000"/>
              <a:lumOff val="80000"/>
              <a:alpha val="33000"/>
            </a:schemeClr>
          </a:solidFill>
        </p:grpSpPr>
        <p:sp>
          <p:nvSpPr>
            <p:cNvPr id="3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A070C8C9-202A-4B66-BE66-8EF7DBFF6CB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9872" y="3695804"/>
              <a:ext cx="209015" cy="20901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81452C02-674D-43B4-81A6-7F079E615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25375" y="3467518"/>
              <a:ext cx="315746" cy="302405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AE0ABBD-C788-4D95-AA88-7460F164E4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336" y="2637386"/>
              <a:ext cx="277203" cy="189744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8D910E7-9A8C-417A-A82A-C4C76DC09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79" y="2373523"/>
              <a:ext cx="226803" cy="19419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03454253-81CE-4E71-8914-DDEDC4533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2" y="2226767"/>
              <a:ext cx="16307" cy="35577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B0AF8-B12C-489C-8430-0D434CDB1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445" y="1830973"/>
              <a:ext cx="449160" cy="252004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A90FE74-C099-4E57-8DB5-A99BE146DE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0722" y="2503972"/>
              <a:ext cx="229767" cy="452126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C4CA797-5428-48DE-94BB-84C62CFECC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836" y="2846402"/>
              <a:ext cx="361698" cy="352806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9414D43-D683-417D-B842-B6580C5F0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11" y="1107572"/>
              <a:ext cx="1165144" cy="504009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53F17B8-5F15-4E59-A901-09C044E09E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45607" y="4139036"/>
              <a:ext cx="139343" cy="145273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3BED85E-6CCC-4EBF-8497-D3DC9D3753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94566" y="1386258"/>
              <a:ext cx="219391" cy="312783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525D92CA-24C8-4EE9-AB87-403A58A27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3" y="2407618"/>
              <a:ext cx="127484" cy="121556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30E44D7-FCF1-4AB7-9453-5B5CD1DD7C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92763" y="1627887"/>
              <a:ext cx="423959" cy="237181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9CC2308-F345-45FB-86A7-3C50DADBAA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4390" y="3090993"/>
              <a:ext cx="148236" cy="174920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1E74C4D-9693-4E08-B8FA-FB3D7B985A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0255" y="1912504"/>
              <a:ext cx="382452" cy="229770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BBBE0759-F027-48EC-B034-878FED2529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80223" y="1930291"/>
              <a:ext cx="504007" cy="19270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A30831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0886-CF83-42D8-9731-F274CBBAC0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41441" y="2078530"/>
              <a:ext cx="103766" cy="216428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BE2FC0F-4095-4311-AAB0-CDA964057F28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944" y="2880496"/>
              <a:ext cx="53365" cy="152686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5B1B67-9C4B-4536-BDA9-3548BE6F1D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9542" y="2594397"/>
              <a:ext cx="234215" cy="450643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26971D6-F3DB-416F-8B35-1118E9FEC3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32907" y="3249609"/>
              <a:ext cx="290545" cy="329088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257B37-31A9-428D-90A1-DD1595FA4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7154" y="1967351"/>
              <a:ext cx="209015" cy="131932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6900265C-E1B4-4D70-818A-A5AD9B975F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1738" y="2444677"/>
              <a:ext cx="45954" cy="102284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68AF1-1CF0-4B60-B3AD-838977B48F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79" y="2075565"/>
              <a:ext cx="170473" cy="15713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8C0E674-1795-41C6-B9BB-0AC9B9F8C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759818"/>
              <a:ext cx="109696" cy="6077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F1A7C881-205F-480F-8BCC-46AA167042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33349" y="1163902"/>
              <a:ext cx="262381" cy="375042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AD305B-AC01-426A-8F81-362FF562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0696" y="4004139"/>
              <a:ext cx="38542" cy="50401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92BB362-A48C-49E1-89C8-C848C8B3E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8524" y="3036146"/>
              <a:ext cx="111179" cy="127485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Sudan">
              <a:extLst>
                <a:ext uri="{FF2B5EF4-FFF2-40B4-BE49-F238E27FC236}">
                  <a16:creationId xmlns:a16="http://schemas.microsoft.com/office/drawing/2014/main" id="{23D5F083-9FA8-4678-9223-41A79B78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919" y="2510265"/>
              <a:ext cx="452944" cy="444363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South Sudan">
              <a:extLst>
                <a:ext uri="{FF2B5EF4-FFF2-40B4-BE49-F238E27FC236}">
                  <a16:creationId xmlns:a16="http://schemas.microsoft.com/office/drawing/2014/main" id="{E59818E2-D452-4689-9347-0B82A8BBE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7854" y="2841153"/>
              <a:ext cx="326120" cy="272722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DE1C1DD3-B545-4FD5-9BA2-D7EFF8B9BE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902" y="2924967"/>
              <a:ext cx="65224" cy="115625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B342882-4389-4200-88B7-606A689FBB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30823" y="1882856"/>
              <a:ext cx="332051" cy="234216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A990BB-6EBC-42B8-A371-FE82A4969C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72692" y="3895926"/>
              <a:ext cx="429889" cy="38690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9D86B3E-DE9E-4BE4-BAA2-4E9A84C790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1240" y="2850849"/>
              <a:ext cx="271275" cy="419514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D49C86E-4E3C-4119-838A-3F3BCD9E12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52741" y="3423046"/>
              <a:ext cx="140826" cy="131932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3A91E3C4-85EF-47FD-BC96-37742B8F07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3748" y="1786501"/>
              <a:ext cx="80048" cy="45954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7B49B51-143E-4D94-820C-A9E089206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665278" y="1709417"/>
              <a:ext cx="134897" cy="5484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F5F8F592-E3CA-47B1-B0A8-D9EF79182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9621" y="2910144"/>
              <a:ext cx="78566" cy="102284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CB8585C4-3747-4904-A96F-10B5077C3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162" y="1810219"/>
              <a:ext cx="103766" cy="113769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824464-0666-48F1-8659-C19E7C17E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1057" y="2704094"/>
              <a:ext cx="157132" cy="1393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8B7E396-6F53-498D-AD46-7738FE051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8533" y="2235663"/>
              <a:ext cx="563301" cy="483255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AD9001F-EB99-4D91-8498-0BE00EE5A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2154" y="3249609"/>
              <a:ext cx="56330" cy="56330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78BB1771-BF29-436E-80D7-A6A36C434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4943" y="1429248"/>
              <a:ext cx="114143" cy="453608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A37200-E484-4B1A-9A96-CF4DF5D8A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27539" y="867426"/>
              <a:ext cx="3430210" cy="1092513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68422-47B3-478A-A04D-6D7F8055467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747960"/>
              <a:ext cx="232733" cy="1393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9613CEF-0137-45C8-9AFF-AEA2C207AA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9903" y="2416512"/>
              <a:ext cx="25201" cy="54848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DB5BAFFE-D999-4514-9CA0-6E85B8F031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3580" y="2656657"/>
              <a:ext cx="51884" cy="22236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83EE0C1C-87C9-49A9-9731-86AC82668F5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7483" y="1933256"/>
              <a:ext cx="85978" cy="15565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6889441-ABCB-4706-A1D0-B84E0ACE93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0055" y="1555250"/>
              <a:ext cx="237180" cy="170474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1C34E514-1F83-4448-9F7E-767FD4802B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88398" y="2646281"/>
              <a:ext cx="271275" cy="455091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CDF23795-240C-46A9-86F5-FF08F766C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480" y="3216997"/>
              <a:ext cx="357252" cy="56478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816D136-CB9F-499F-BF42-A4D2EC17C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2586993" y="3806984"/>
              <a:ext cx="226803" cy="256451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106BE55-579B-418F-8CAF-5D87954344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22853" y="3274809"/>
              <a:ext cx="412099" cy="275723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3C1E7AC-494D-4D03-8791-42AE51EE9A8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2938" y="2924967"/>
              <a:ext cx="154167" cy="7411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5CB5BC-3FE2-4420-87B9-3DB7CA418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5977" y="2087424"/>
              <a:ext cx="398759" cy="400242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65BA916C-1E1C-495B-8317-740CD3507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04583" y="2690751"/>
              <a:ext cx="35577" cy="23718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A7B643D-D585-4D5F-9877-E4CA78F87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1409" y="2453571"/>
              <a:ext cx="204568" cy="254968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79E01DB2-FA00-476A-A230-921903F244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99935" y="895592"/>
              <a:ext cx="515865" cy="56775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E833CC4-AF8C-4379-9F64-C9843F2F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9510" y="2794518"/>
              <a:ext cx="317228" cy="292029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7905E3-82AA-4D5D-9B22-B5F012F05044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2803" y="2501007"/>
              <a:ext cx="420993" cy="35725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9903D455-7CA9-4349-87DB-3ADD5A9AD5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888796" y="2764871"/>
              <a:ext cx="123038" cy="126003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661F8-F25C-4E8F-9379-23CF4CE708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260033" y="4266520"/>
              <a:ext cx="481772" cy="37207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AC56EF-6B15-41C7-A7D6-E93AC3AE56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5303" y="1653087"/>
              <a:ext cx="161579" cy="14527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B40E70C-FFCF-483D-BF4B-CB2886E4E9A7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0640" y="1595275"/>
              <a:ext cx="102284" cy="8004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1F47430-998D-4542-9718-3CE39390C9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7019" y="2287544"/>
              <a:ext cx="222356" cy="12452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0A588F4-467D-4DD1-9BEA-13B1E746B55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8172" y="3735829"/>
              <a:ext cx="361698" cy="369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Garamond" panose="02020404030301010803" pitchFamily="18" charset="0"/>
                <a:ea typeface="+mn-ea"/>
                <a:cs typeface="+mn-cs"/>
              </a:endParaRPr>
            </a:p>
          </p:txBody>
        </p:sp>
        <p:sp>
          <p:nvSpPr>
            <p:cNvPr id="69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DC4E8DD6-3801-4D0B-821B-D20804427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6859" y="2346840"/>
              <a:ext cx="241627" cy="56775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858FB68E-A417-453F-AB85-4D57F7702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1802" y="3538673"/>
              <a:ext cx="289063" cy="50697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FB4E9A8-6FB8-4E6A-A1FA-3DBDF538B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8892" y="2123001"/>
              <a:ext cx="321676" cy="250522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D9F5E23-D1D1-4C5C-B254-41DDB1E1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09750" y="1887303"/>
              <a:ext cx="42989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320FE88-0EA6-4AF1-9AD2-9F2895E84F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0360" y="1632334"/>
              <a:ext cx="796035" cy="315747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DCCF113D-5A79-4AF2-ADF3-B3C20D0A5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00976" y="1742029"/>
              <a:ext cx="81531" cy="9042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ABE66B1-E0D9-4B70-A4B1-B8B703640C8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8034" y="2220838"/>
              <a:ext cx="705609" cy="55292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1212191-E812-4A49-BE33-FC3AB39DD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8948" y="2112624"/>
              <a:ext cx="11859" cy="10377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FDCB7D3-8DD4-4DB1-9317-7B2C61352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0680" y="2386865"/>
              <a:ext cx="324640" cy="38097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4A85CC7A-E0B8-471A-AF68-A28CB6C40B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270" y="2453571"/>
              <a:ext cx="440265" cy="455091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522918-233B-4667-8520-20B31717E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8863" y="3012428"/>
              <a:ext cx="115625" cy="166026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7C29E9E-6EB0-40A8-A64E-468934A519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00136" y="2993158"/>
              <a:ext cx="260898" cy="20012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20981D6-3E8F-4F2F-9238-CA1F0396F3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1474" y="3506059"/>
              <a:ext cx="88942" cy="237181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826FB395-AE74-47B3-A485-E7C56817D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889" y="3593521"/>
              <a:ext cx="225320" cy="413584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23ABDBA-442C-437B-B520-8065F8E3BE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3115" y="1922880"/>
              <a:ext cx="62260" cy="48919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57E3AE0-9F6C-4816-982F-556EE2F3E1C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2900" y="1693111"/>
              <a:ext cx="19271" cy="16307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191FD97-94CF-4567-89A0-D0B76E82B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2740" y="1507814"/>
              <a:ext cx="128967" cy="74119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239F6D1-63BF-4856-87B8-705C84B9E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877" y="1776125"/>
              <a:ext cx="5929" cy="8894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FA68AA7B-F642-4151-BC09-165C390765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2203049"/>
              <a:ext cx="416547" cy="420995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DAE47C-5E5F-4569-A6CE-6A51B9EC6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18164" y="2956098"/>
              <a:ext cx="117108" cy="130449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5FE2C8C3-A323-440A-9704-62C1AC08CA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5448" y="4093082"/>
              <a:ext cx="63743" cy="62260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64DAB953-3702-499D-99D2-8D3E5DD17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1121" y="2160060"/>
              <a:ext cx="41506" cy="59295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0E98C36E-0D5D-4141-927E-D45D77E630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49775" y="1461860"/>
              <a:ext cx="161579" cy="68189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9DC2C79C-7788-4E7E-83B8-85A05BB0EC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90321" y="2530655"/>
              <a:ext cx="228285" cy="26386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08E3A8-3B5A-4085-8287-A5473A820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144" y="1900644"/>
              <a:ext cx="254967" cy="118590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05263DB-8CB2-4B0D-B16F-E5D99CA03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5385" y="2300887"/>
              <a:ext cx="51884" cy="45954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1AD95DA0-5416-46A0-B23C-05E077BDC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51078" y="1888485"/>
              <a:ext cx="48855" cy="4921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7DDC3E8-D46F-49B6-95C9-86E59664EA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4351" y="2041470"/>
              <a:ext cx="103766" cy="161579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88A1F652-3FC2-47E8-82D8-F08D91F93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8373" y="1908055"/>
              <a:ext cx="124519" cy="15861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7CAF-039D-4985-AA96-B0052070D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3074689"/>
              <a:ext cx="213462" cy="289065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6518C78-F81E-4A16-80BD-BF2B0DB14F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89" y="1538944"/>
              <a:ext cx="953166" cy="441749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5F9B47E-43BD-47E5-935A-C5105AB0E7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2980" y="2201567"/>
              <a:ext cx="106731" cy="127485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2448778-C5BD-4915-BDF8-20FA363EE1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9694" y="2656657"/>
              <a:ext cx="59295" cy="19271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CD6390-809B-4105-9862-7BDF0CCCDF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646" y="1830973"/>
              <a:ext cx="332051" cy="647800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989EEB9-7089-4458-9BF0-685559DA8F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20688" y="1782054"/>
              <a:ext cx="294993" cy="314264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85C43DD6-E12E-4F4D-8F49-DBC4A6B93F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0744" y="2197120"/>
              <a:ext cx="38542" cy="121556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9E4419-04E5-4B5F-83D8-8CECBAF7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88" y="1541909"/>
              <a:ext cx="106731" cy="112660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9B286F02-6EC2-476A-8069-06851CF09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3" y="2078530"/>
              <a:ext cx="259416" cy="250522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147081A-7EB2-4C40-BB57-19E5BD6E03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3100" y="2002928"/>
              <a:ext cx="545513" cy="44767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51B700CD-03B7-49FD-A071-5A4A98B7A7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01378" y="3045040"/>
              <a:ext cx="1237782" cy="493632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9D808341-86B0-46EB-8740-98DBDA224B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42403" y="2118554"/>
              <a:ext cx="741186" cy="89387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62A542E-74FC-43D8-9D01-78BEA87D2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5503" y="1229127"/>
              <a:ext cx="216427" cy="8449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635E4B2F-BB07-4AE6-8482-BF4FA6F11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4651939" y="1739065"/>
              <a:ext cx="161579" cy="84496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057E561-56F9-41A6-BE82-C7B236C51BE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47289" y="2729294"/>
              <a:ext cx="168991" cy="93390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7AB3A9D-EE9F-4BB7-A7BF-4ABADCFC6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2354" y="2610703"/>
              <a:ext cx="74119" cy="59295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C127EF6-179C-4463-86C9-9A5D6D3D7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0431" y="3042075"/>
              <a:ext cx="77083" cy="112660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11E1361C-38F1-413A-84C8-D479C75525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79582" y="2960544"/>
              <a:ext cx="123038" cy="220874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AAB4F8-B749-4458-B978-977DC650B8E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9574" y="2828614"/>
              <a:ext cx="69672" cy="59295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CBEA3E8-956E-4814-927D-5A2382A06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3669" y="2831578"/>
              <a:ext cx="197155" cy="16750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1A5E9B3F-E5BA-4ED6-8F72-33F389B79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68724" y="2671482"/>
              <a:ext cx="112660" cy="127485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1425903-D3E5-45E8-8479-03458F74C3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76176" y="834814"/>
              <a:ext cx="1062861" cy="57812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6202C0C-7922-4A64-85CF-3690E527D6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1633" y="1943633"/>
              <a:ext cx="201602" cy="209016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F93672B5-6637-4362-A057-BB1ECBF9F98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4967" y="2879014"/>
              <a:ext cx="123038" cy="19567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AEE40C4C-9C63-4CA1-BFD6-D7E4C28814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829" y="1552285"/>
              <a:ext cx="213462" cy="223839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8D20CE3-27BB-4CBB-A280-4D10A1BA8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475" y="1887303"/>
              <a:ext cx="174919" cy="8004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98FB8E-1A75-4376-8333-8BA9E0C391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6233" y="2797483"/>
              <a:ext cx="81531" cy="19271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E14DDF3-12A6-4842-B9E2-F29D5266C9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8124" y="3144360"/>
              <a:ext cx="158615" cy="19419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15E28D8-4CC3-4ABC-84AA-AD1145C780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49413" y="1660499"/>
              <a:ext cx="345394" cy="29795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5365B84-3A13-426C-9B30-3005C747EB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5679" y="1138702"/>
              <a:ext cx="238663" cy="27127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6D98A21F-F495-4404-861E-E1829B1785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4815" y="2763389"/>
              <a:ext cx="400241" cy="34984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E56F-C2AB-41E7-8C2F-25B51FE59F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3115" y="1418872"/>
              <a:ext cx="131932" cy="59295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E965D8E-6E4C-424C-B624-D59B03E46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9310" y="2667033"/>
              <a:ext cx="182333" cy="1734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97BF2FF-E7D9-4945-A2A3-66C6CAED969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5913" y="3147325"/>
              <a:ext cx="54848" cy="4150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ADCE37B6-04AB-4DC5-9AFD-C1A2313C5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0608" y="2776730"/>
              <a:ext cx="65224" cy="42989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FB70317-64CC-455B-A168-DAAF3B23F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4671" y="2250485"/>
              <a:ext cx="299440" cy="30537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9B21417-9FA8-4C2E-84E1-6BBCE40BA79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5927" y="3169561"/>
              <a:ext cx="157132" cy="20012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E9618D2-2D2E-4A2E-B220-C47C1AF12A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70729" y="3470482"/>
              <a:ext cx="94872" cy="444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E0E363-D874-49A2-BFED-90AF89DA71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6096" y="2610703"/>
              <a:ext cx="94872" cy="63743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DAED2530-1FD9-4E53-9A50-638376A22E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4583" y="2831578"/>
              <a:ext cx="44471" cy="5188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41BD22E-F6D5-4276-9F71-C978DDE42C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60712" y="1475202"/>
              <a:ext cx="105249" cy="8894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18A8DB-100B-49EB-82A7-C452CFD3F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4554101" y="1666429"/>
              <a:ext cx="160096" cy="72637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6BCDF51-6033-4085-B09B-0157BCDDE5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8484" y="2130414"/>
              <a:ext cx="56330" cy="32612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A44C02B-B869-4040-9204-38D302116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95527" y="2508420"/>
              <a:ext cx="280168" cy="102284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C6F87D4F-1A2C-4D44-AD8C-432A6A375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2644" y="1801325"/>
              <a:ext cx="139343" cy="103766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E885D9B-A9B5-4EA9-B368-59A4A7C4C16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1177" y="2890873"/>
              <a:ext cx="166026" cy="19567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AF81E2-4A70-4CD6-9522-8951DA0E673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25855" y="2876049"/>
              <a:ext cx="90425" cy="87461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2DCED62-3447-47E3-A875-0840601D7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65961" y="3053935"/>
              <a:ext cx="511419" cy="575162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A562D73C-2CC0-48ED-8F2E-FD18671CAE1B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3349" y="3104336"/>
              <a:ext cx="203086" cy="265347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5A5D1A2-B45C-471A-838D-F8FF63A24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00775" y="2837508"/>
              <a:ext cx="329086" cy="5099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07462C4-5FC1-4881-AA9A-85E9FC4E70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66120" y="3756582"/>
              <a:ext cx="438782" cy="1148843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7CF92F-1F35-4FA1-894A-E1DBB3E33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4286" y="1589345"/>
              <a:ext cx="1387500" cy="107175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3826C2B-4530-41E2-BC65-24ADB4070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5608" y="2501007"/>
              <a:ext cx="281650" cy="489185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EFA7A980-60DA-4DBD-B448-1EB98E578C3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22291" y="2883461"/>
              <a:ext cx="346876" cy="265347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2511DED3-4338-4D82-8C88-4DDCB8C4D7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41000" y="843708"/>
              <a:ext cx="2112381" cy="1093995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F3F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2C693EA4-D50C-42AF-AB05-8AF09410B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65160" y="2816755"/>
              <a:ext cx="207532" cy="351324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FF2615B4-AFDE-464B-B7F9-4B0AF524CE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9264" y="2773765"/>
              <a:ext cx="143790" cy="127485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E0124DD2-E387-4747-9105-4BE623A8B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603" y="3292597"/>
              <a:ext cx="50401" cy="63743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B5D9F5F2-B82F-416D-A7CC-AF2E4ABF7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85673" y="2758941"/>
              <a:ext cx="216427" cy="17047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2FABE51-C422-4295-8D3E-6375D942904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7587" y="1870997"/>
              <a:ext cx="149720" cy="8597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B817F41-1E2C-47ED-A7C7-4AC385E0F8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43083" y="3056900"/>
              <a:ext cx="1055450" cy="119331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451C22-4845-4878-BAB0-48C307023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6081" y="3761029"/>
              <a:ext cx="246074" cy="277205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1488C40-9E75-440F-98A7-9C4124F256B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38597" y="1836902"/>
              <a:ext cx="100801" cy="8894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25B02E38-F230-44C8-ABFE-48E6AD5BA13D}"/>
                </a:ext>
              </a:extLst>
            </p:cNvPr>
            <p:cNvSpPr>
              <a:spLocks/>
            </p:cNvSpPr>
            <p:nvPr/>
          </p:nvSpPr>
          <p:spPr bwMode="gray">
            <a:xfrm>
              <a:off x="2369085" y="3514955"/>
              <a:ext cx="337980" cy="401725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844F2C-17E4-4A5A-93FB-A7695500A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62717" y="2352770"/>
              <a:ext cx="88942" cy="50401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742FF7F-61E2-47D2-B585-4EE1E51424E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56145" y="2840473"/>
              <a:ext cx="84496" cy="18826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2BAE0AD5-49EA-4314-A344-F4E0D0F4CCFA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4703" y="2653693"/>
              <a:ext cx="41506" cy="80048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17BDFBD-B6B8-48FB-B84E-85778FA36A29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6193" y="1654570"/>
              <a:ext cx="84496" cy="578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79F2105A-7560-478C-9793-4113F8291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859" y="2407618"/>
              <a:ext cx="142308" cy="161579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38D904E3-0F0B-4FA3-A6AB-1E4E0E1D8D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9528" y="2413548"/>
              <a:ext cx="10377" cy="20753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D375580-DD55-4A28-8532-BAADA325D2AA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9071" y="1516708"/>
              <a:ext cx="216427" cy="140826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B21784FF-339F-4120-9886-C76C1C29F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70891" y="1939187"/>
              <a:ext cx="136378" cy="109696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40DBDE5-0032-426C-A089-710DC96A8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4808" y="1725724"/>
              <a:ext cx="173437" cy="7708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89C7014-FC9C-4A3F-8603-B429A16FB6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0490" y="3543119"/>
              <a:ext cx="1076203" cy="1009500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7E781D8-A06B-4B92-8C90-410C90778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32348" y="1955492"/>
              <a:ext cx="84496" cy="80048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29EFBAE-1E9C-443B-BB46-D0A06D16B6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23933" y="3887030"/>
              <a:ext cx="413582" cy="9250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C52F57D-81C3-4BF8-9EC6-1E524A2AB1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48173" y="3348928"/>
              <a:ext cx="336498" cy="419514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32AFB670-8AAC-471E-BA8C-C60F9C924C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293206" y="1916951"/>
              <a:ext cx="11859" cy="5929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95B03F9-C338-411A-AA50-C20DAD0D9D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6732" y="2082976"/>
              <a:ext cx="560338" cy="554408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56A4CE-516B-4966-8C22-A843F5CEBB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24577" y="1916949"/>
              <a:ext cx="54848" cy="9339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76260B-D4CB-43C0-AFFA-9CBF2913C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890" y="2041466"/>
              <a:ext cx="343911" cy="28016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90" name="Rectangle 189"/>
          <p:cNvSpPr/>
          <p:nvPr/>
        </p:nvSpPr>
        <p:spPr>
          <a:xfrm flipV="1">
            <a:off x="4009855" y="2697804"/>
            <a:ext cx="4644000" cy="45719"/>
          </a:xfrm>
          <a:prstGeom prst="rect">
            <a:avLst/>
          </a:prstGeom>
          <a:solidFill>
            <a:srgbClr val="B51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4199515" y="2717018"/>
            <a:ext cx="435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Y</a:t>
            </a:r>
            <a:r>
              <a:rPr kumimoji="0" lang="tr-TR" sz="40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URT</a:t>
            </a:r>
            <a:r>
              <a:rPr kumimoji="0" lang="tr-TR" sz="48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İ</a:t>
            </a:r>
            <a:r>
              <a:rPr kumimoji="0" lang="tr-TR" sz="4000" b="1" i="0" u="none" strike="noStrike" kern="1200" cap="none" spc="3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Çİ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3666993" y="3454460"/>
            <a:ext cx="4858014" cy="831790"/>
            <a:chOff x="3421237" y="3454460"/>
            <a:chExt cx="4858014" cy="831790"/>
          </a:xfrm>
        </p:grpSpPr>
        <p:sp>
          <p:nvSpPr>
            <p:cNvPr id="187" name="Parallelogram 186"/>
            <p:cNvSpPr/>
            <p:nvPr/>
          </p:nvSpPr>
          <p:spPr>
            <a:xfrm>
              <a:off x="5145353" y="3562641"/>
              <a:ext cx="3133898" cy="723609"/>
            </a:xfrm>
            <a:prstGeom prst="parallelogram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Parallelogram 187"/>
            <p:cNvSpPr/>
            <p:nvPr/>
          </p:nvSpPr>
          <p:spPr>
            <a:xfrm>
              <a:off x="3421237" y="3562035"/>
              <a:ext cx="2056744" cy="723609"/>
            </a:xfrm>
            <a:prstGeom prst="parallelogram">
              <a:avLst/>
            </a:prstGeom>
            <a:solidFill>
              <a:srgbClr val="A60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3578859" y="3454460"/>
              <a:ext cx="459257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K</a:t>
              </a:r>
              <a:r>
                <a:rPr kumimoji="0" lang="tr-TR" sz="4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REDİL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86132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6" presetClass="emp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4" dur="1000" fill="hold"/>
                                        <p:tgtEl>
                                          <p:spTgt spid="191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0" grpId="0" animBg="1"/>
      <p:bldP spid="191" grpId="0"/>
      <p:bldP spid="191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8273615" y="1238246"/>
            <a:ext cx="3495957" cy="4485545"/>
            <a:chOff x="3008990" y="-93354"/>
            <a:chExt cx="2222297" cy="4993467"/>
          </a:xfr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" name="Group 2"/>
            <p:cNvGrpSpPr/>
            <p:nvPr/>
          </p:nvGrpSpPr>
          <p:grpSpPr>
            <a:xfrm>
              <a:off x="3015239" y="-89394"/>
              <a:ext cx="2209800" cy="4989507"/>
              <a:chOff x="1079500" y="865192"/>
              <a:chExt cx="2209800" cy="4989507"/>
            </a:xfrm>
          </p:grpSpPr>
          <p:sp>
            <p:nvSpPr>
              <p:cNvPr id="5" name="Round Same Side Corner Rectangle 4"/>
              <p:cNvSpPr/>
              <p:nvPr/>
            </p:nvSpPr>
            <p:spPr>
              <a:xfrm>
                <a:off x="1079500" y="865192"/>
                <a:ext cx="2209800" cy="2743200"/>
              </a:xfrm>
              <a:prstGeom prst="round2SameRect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6" name="Freeform 5"/>
              <p:cNvSpPr/>
              <p:nvPr/>
            </p:nvSpPr>
            <p:spPr>
              <a:xfrm flipV="1">
                <a:off x="1079500" y="2041636"/>
                <a:ext cx="2209800" cy="3813063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4" name="TextBox 3"/>
            <p:cNvSpPr txBox="1"/>
            <p:nvPr/>
          </p:nvSpPr>
          <p:spPr>
            <a:xfrm>
              <a:off x="3008990" y="-93354"/>
              <a:ext cx="2222297" cy="15418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DÖVİZ KAZANDIRICI HİZMET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060828" y="1238246"/>
            <a:ext cx="4222616" cy="4485546"/>
            <a:chOff x="634203" y="710907"/>
            <a:chExt cx="2604644" cy="4989508"/>
          </a:xfr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" name="Group 7"/>
            <p:cNvGrpSpPr/>
            <p:nvPr/>
          </p:nvGrpSpPr>
          <p:grpSpPr>
            <a:xfrm>
              <a:off x="825499" y="710907"/>
              <a:ext cx="2209800" cy="4989508"/>
              <a:chOff x="1079500" y="865192"/>
              <a:chExt cx="2209800" cy="4989508"/>
            </a:xfrm>
          </p:grpSpPr>
          <p:sp>
            <p:nvSpPr>
              <p:cNvPr id="10" name="Round Same Side Corner Rectangle 9"/>
              <p:cNvSpPr/>
              <p:nvPr/>
            </p:nvSpPr>
            <p:spPr>
              <a:xfrm>
                <a:off x="1079500" y="865192"/>
                <a:ext cx="2209800" cy="2743200"/>
              </a:xfrm>
              <a:prstGeom prst="round2SameRect">
                <a:avLst/>
              </a:prstGeom>
              <a:solidFill>
                <a:srgbClr val="A6A6A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>
              <a:xfrm flipV="1">
                <a:off x="1079500" y="2044659"/>
                <a:ext cx="2209800" cy="3810041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634203" y="950556"/>
              <a:ext cx="2604644" cy="10613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ORTA-UZU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VADELİ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33363" y="1270698"/>
            <a:ext cx="3786426" cy="4453092"/>
            <a:chOff x="863600" y="1834061"/>
            <a:chExt cx="2209800" cy="4989507"/>
          </a:xfr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3" name="Group 12"/>
            <p:cNvGrpSpPr/>
            <p:nvPr/>
          </p:nvGrpSpPr>
          <p:grpSpPr>
            <a:xfrm>
              <a:off x="863600" y="1834061"/>
              <a:ext cx="2209800" cy="4989507"/>
              <a:chOff x="1079500" y="865192"/>
              <a:chExt cx="2209800" cy="4989507"/>
            </a:xfrm>
          </p:grpSpPr>
          <p:sp>
            <p:nvSpPr>
              <p:cNvPr id="15" name="Round Same Side Corner Rectangle 14"/>
              <p:cNvSpPr/>
              <p:nvPr/>
            </p:nvSpPr>
            <p:spPr>
              <a:xfrm>
                <a:off x="1079500" y="865192"/>
                <a:ext cx="2209800" cy="2743200"/>
              </a:xfrm>
              <a:prstGeom prst="round2SameRect">
                <a:avLst/>
              </a:prstGeom>
              <a:solidFill>
                <a:srgbClr val="B516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" name="Freeform 15"/>
              <p:cNvSpPr/>
              <p:nvPr/>
            </p:nvSpPr>
            <p:spPr>
              <a:xfrm flipV="1">
                <a:off x="1079500" y="2016893"/>
                <a:ext cx="2209800" cy="3837806"/>
              </a:xfrm>
              <a:custGeom>
                <a:avLst/>
                <a:gdLst>
                  <a:gd name="connsiteX0" fmla="*/ 0 w 2209800"/>
                  <a:gd name="connsiteY0" fmla="*/ 3975100 h 3975100"/>
                  <a:gd name="connsiteX1" fmla="*/ 565150 w 2209800"/>
                  <a:gd name="connsiteY1" fmla="*/ 3975100 h 3975100"/>
                  <a:gd name="connsiteX2" fmla="*/ 1104900 w 2209800"/>
                  <a:gd name="connsiteY2" fmla="*/ 3435350 h 3975100"/>
                  <a:gd name="connsiteX3" fmla="*/ 1644650 w 2209800"/>
                  <a:gd name="connsiteY3" fmla="*/ 3975100 h 3975100"/>
                  <a:gd name="connsiteX4" fmla="*/ 2209800 w 2209800"/>
                  <a:gd name="connsiteY4" fmla="*/ 3975100 h 3975100"/>
                  <a:gd name="connsiteX5" fmla="*/ 2209800 w 2209800"/>
                  <a:gd name="connsiteY5" fmla="*/ 368307 h 3975100"/>
                  <a:gd name="connsiteX6" fmla="*/ 1841493 w 2209800"/>
                  <a:gd name="connsiteY6" fmla="*/ 0 h 3975100"/>
                  <a:gd name="connsiteX7" fmla="*/ 368307 w 2209800"/>
                  <a:gd name="connsiteY7" fmla="*/ 0 h 3975100"/>
                  <a:gd name="connsiteX8" fmla="*/ 0 w 2209800"/>
                  <a:gd name="connsiteY8" fmla="*/ 368307 h 3975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09800" h="3975100">
                    <a:moveTo>
                      <a:pt x="0" y="3975100"/>
                    </a:moveTo>
                    <a:lnTo>
                      <a:pt x="565150" y="3975100"/>
                    </a:lnTo>
                    <a:cubicBezTo>
                      <a:pt x="565150" y="3677004"/>
                      <a:pt x="806804" y="3435350"/>
                      <a:pt x="1104900" y="3435350"/>
                    </a:cubicBezTo>
                    <a:cubicBezTo>
                      <a:pt x="1402996" y="3435350"/>
                      <a:pt x="1644650" y="3677004"/>
                      <a:pt x="1644650" y="3975100"/>
                    </a:cubicBezTo>
                    <a:lnTo>
                      <a:pt x="2209800" y="3975100"/>
                    </a:lnTo>
                    <a:lnTo>
                      <a:pt x="2209800" y="368307"/>
                    </a:lnTo>
                    <a:cubicBezTo>
                      <a:pt x="2209800" y="164897"/>
                      <a:pt x="2044903" y="0"/>
                      <a:pt x="1841493" y="0"/>
                    </a:cubicBezTo>
                    <a:lnTo>
                      <a:pt x="368307" y="0"/>
                    </a:lnTo>
                    <a:cubicBezTo>
                      <a:pt x="164897" y="0"/>
                      <a:pt x="0" y="164897"/>
                      <a:pt x="0" y="36830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tr-T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1261270" y="2145588"/>
              <a:ext cx="1414461" cy="10690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KISA VADELİ 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653584" y="2751838"/>
            <a:ext cx="303658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L veya döviz kredi imkan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L kredilerde 360 gü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öviz kredilerde 720 gün vade imkanı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24 ay ihracat taahhüt süres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al / hizmet ihracatına yönelik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61922" y="2751838"/>
            <a:ext cx="293751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şletme veya yatırım ihtiyaçlarına yöneli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öviz kredi imkanı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Kredi vadesi ile uyumlu ihracat taahhüt süres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Mal / hizmet ihracatına yönelik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582294" y="2751838"/>
            <a:ext cx="282584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öviz kazandırıcı hizmet faaliyetlerine yöneli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L veya döviz kredi imkanı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L kredilerde 360 gü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>
                  <a:lumMod val="50000"/>
                </a:prst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öviz kredilerde 720 gün vade imkanı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907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spect="1"/>
          </p:cNvSpPr>
          <p:nvPr/>
        </p:nvSpPr>
        <p:spPr>
          <a:xfrm>
            <a:off x="900000" y="1440000"/>
            <a:ext cx="9720000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GE ile imzalanan anlaşma </a:t>
            </a:r>
            <a:r>
              <a: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apsamında </a:t>
            </a:r>
            <a:r>
              <a:rPr kumimoji="0" lang="tr-TR" sz="18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oplam 46 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ilyar TL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utarında kredi desteği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al ve hizmet ihracatçılarına 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L kredi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mkanı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OBİ’lere 20 Milyon TL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; 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KOBİ dışı firmalara 30 Milyon TL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’ye kadar kredi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Azami 12 ay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vade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ürk Eximbank veya TCMB kaynaklı </a:t>
            </a: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oğrudan kredi programlarında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er bir kefalet başvurusu için </a:t>
            </a: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.000 TL İGE başvuru ücreti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GE kefalet komisyonu %1,5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234" y="6015438"/>
            <a:ext cx="450315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1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Bağlı olduğunuz şubemize başvurabilir ya da 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https://basvuru.eximbank.gov.tr/ adresinden başvuruda bulunabilirsiniz</a:t>
            </a:r>
            <a:r>
              <a:rPr kumimoji="0" lang="tr-TR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0" y="5360258"/>
            <a:ext cx="12192000" cy="1497742"/>
            <a:chOff x="0" y="5360258"/>
            <a:chExt cx="12192000" cy="1497742"/>
          </a:xfrm>
        </p:grpSpPr>
        <p:sp>
          <p:nvSpPr>
            <p:cNvPr id="16" name="Rectangle 15"/>
            <p:cNvSpPr/>
            <p:nvPr/>
          </p:nvSpPr>
          <p:spPr>
            <a:xfrm>
              <a:off x="0" y="6654000"/>
              <a:ext cx="6096000" cy="2039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096000" y="6654000"/>
              <a:ext cx="6096000" cy="204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 flipH="1">
              <a:off x="9229221" y="5559434"/>
              <a:ext cx="1796402" cy="1094567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66000">
                  <a:schemeClr val="bg1">
                    <a:lumMod val="75000"/>
                  </a:schemeClr>
                </a:gs>
                <a:gs pos="2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 flipH="1">
              <a:off x="9731757" y="5360258"/>
              <a:ext cx="2460243" cy="1293744"/>
            </a:xfrm>
            <a:custGeom>
              <a:avLst/>
              <a:gdLst>
                <a:gd name="connsiteX0" fmla="*/ 0 w 1328738"/>
                <a:gd name="connsiteY0" fmla="*/ 1454727 h 1454727"/>
                <a:gd name="connsiteX1" fmla="*/ 716395 w 1328738"/>
                <a:gd name="connsiteY1" fmla="*/ 1454727 h 1454727"/>
                <a:gd name="connsiteX2" fmla="*/ 748145 w 1328738"/>
                <a:gd name="connsiteY2" fmla="*/ 1454727 h 1454727"/>
                <a:gd name="connsiteX3" fmla="*/ 1328738 w 1328738"/>
                <a:gd name="connsiteY3" fmla="*/ 1454727 h 1454727"/>
                <a:gd name="connsiteX4" fmla="*/ 719333 w 1328738"/>
                <a:gd name="connsiteY4" fmla="*/ 230345 h 1454727"/>
                <a:gd name="connsiteX5" fmla="*/ 718750 w 1328738"/>
                <a:gd name="connsiteY5" fmla="*/ 228467 h 1454727"/>
                <a:gd name="connsiteX6" fmla="*/ 374073 w 1328738"/>
                <a:gd name="connsiteY6" fmla="*/ 0 h 1454727"/>
                <a:gd name="connsiteX7" fmla="*/ 0 w 1328738"/>
                <a:gd name="connsiteY7" fmla="*/ 0 h 1454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8738" h="1454727">
                  <a:moveTo>
                    <a:pt x="0" y="1454727"/>
                  </a:moveTo>
                  <a:lnTo>
                    <a:pt x="716395" y="1454727"/>
                  </a:lnTo>
                  <a:lnTo>
                    <a:pt x="748145" y="1454727"/>
                  </a:lnTo>
                  <a:lnTo>
                    <a:pt x="1328738" y="1454727"/>
                  </a:lnTo>
                  <a:lnTo>
                    <a:pt x="719333" y="230345"/>
                  </a:lnTo>
                  <a:lnTo>
                    <a:pt x="718750" y="228467"/>
                  </a:lnTo>
                  <a:cubicBezTo>
                    <a:pt x="661962" y="94206"/>
                    <a:pt x="529019" y="0"/>
                    <a:pt x="37407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60933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2320" y="5730001"/>
            <a:ext cx="1156850" cy="720000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/>
        </p:nvSpPr>
        <p:spPr>
          <a:xfrm>
            <a:off x="646458" y="476228"/>
            <a:ext cx="6007222" cy="461665"/>
          </a:xfrm>
          <a:prstGeom prst="rect">
            <a:avLst/>
          </a:prstGeom>
          <a:effectLst>
            <a:outerShdw blurRad="50800" dist="25400" algn="l" rotWithShape="0">
              <a:prstClr val="black">
                <a:alpha val="2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600" normalizeH="0" baseline="0" noProof="0" dirty="0">
                <a:ln>
                  <a:noFill/>
                </a:ln>
                <a:solidFill>
                  <a:srgbClr val="A60933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İGE TEMİNATLI KREDİLER</a:t>
            </a:r>
          </a:p>
        </p:txBody>
      </p:sp>
    </p:spTree>
    <p:extLst>
      <p:ext uri="{BB962C8B-B14F-4D97-AF65-F5344CB8AC3E}">
        <p14:creationId xmlns:p14="http://schemas.microsoft.com/office/powerpoint/2010/main" val="3046812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jMFQqNkb5wSlJ5iLAJ6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fkyE01fMZOYwevrZp.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fMXoa2THNLSS0haj_G4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aNloDOna_q_1P7xb8T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z2JgdETjZtKj.ffGXt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MbqDCkTrUX5oMsbBNu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sqJuS2TVgi0Gl7Fa3V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wbNF7WN73v9ibrvH_T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nkA9ApLGFDQ3i56B66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LbLDLPwZ6FrZ0h5bLk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IVJlK2TfPamfbA6cR4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I84Av.p.dG1sctmNha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fuPBE_RwQBuKZf0rYZ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UZ4m.GokZsjE6axflA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6p6Ls.dErI29uMya.n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fWPP4jT1KHldewoHp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pOtZ2pfAlqy8HSUJLR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WF.XuzXLO0l5cqV2ex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d.k1NHnuBf5i4YqzEc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TA11.0T6AjX4xmyR1D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DrN_0pcHmtooi0BW2S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rmasJaygZQnIaVA_4Q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WEz.GQmaf.Lt0XInRY_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ISH6uprjSy0Hai1caHq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m5LJArJLQNlFeUC2fX0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D_SS65NOaikQdgJaza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IWtE0nic8vYu1z_hT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Ap_QBJXCok27oxxJVB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NWB2Yo9ObIkWqSqg5j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sgKqSe_Fc4BGpurAQGI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sgdrxG2Mj5na0ZylId.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cuBltRcQYC6mHtuQBQY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moGjkHE28WiRWenfi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IVJlK2TfPamfbA6cR4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rmasJaygZQnIaVA_4Q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B_1k3TmZU1EtObOEk_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f9rf7TNSRVaHocrWdcP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EJ4JX6y2h0JL0qvg098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AuS6Eiyn3Q665uxhFS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pjNulYUyyloJECxmMnz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lSTZEKWGPszBRZG7vH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2laZwlWiR3tLeYd.Mn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DP4uJmojXuepfiS_iB5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kSiVtjh04U9C7ATRmRj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7MHgchcfdgq8NADVzb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2Dbdi8cEtpGMwLm0Gd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MUkQVTxEXk0wXL34ae0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8k2uKKlWHvl9xN.Iai1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Bfbghs_g4XXX9SlHnis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6Ds.GZEkIzq9oQaiGv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SsJbZ6KpBiBAI_CcWk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tn5PU0vKVvCay6CgJ6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mbgVWDyPO4M1LJ957U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gtAIaAH8F.HPhRtxVdk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lPlj643atGGqP8p3kEL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Q5vplcwexEi8fYctmH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9Yz4acvoMdMgUH9q7f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Fn_uL8n_qWDJIVUc5GL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hqpt9neTyHDXsbwE2e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X1YvTD3JbVYRpZS1dk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PKuFH4NPgcJd2QhUHxx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UfmrJEY4JMY3T6PJ5DL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NwQZqrouzNVO_IhpR42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JvmyqvNaMADSbbAPcs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iebIWzXgyZw3b2US_Ie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e0POHzC3Ool9faVZQxs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8l7IMptXgrfWAHere8c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IVJlK2TfPamfbA6cR4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IVJlK2TfPamfbA6cR4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OIVJlK2TfPamfbA6cR4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EcDlP3nXeCQczxkKoE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bYeIfYsxZ7ggr8JJ_1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e5329e82-f9bd-4166-8db9-c932d675df1c" origin="userSelected">
  <element uid="48f42efa-7829-41b1-85e7-5e935fa1ea91" value=""/>
  <element uid="2a2fb101-d5ef-47db-8b28-6e75e4824aa7" value=""/>
</sisl>
</file>

<file path=customXml/item2.xml><?xml version="1.0" encoding="utf-8"?>
<WrappedLabelHistory xmlns:xsd="http://www.w3.org/2001/XMLSchema" xmlns:xsi="http://www.w3.org/2001/XMLSchema-instance" xmlns="http://www.boldonjames.com/2016/02/Classifier/internal/wrappedLabelHistory">
  <Value>PD94bWwgdmVyc2lvbj0iMS4wIiBlbmNvZGluZz0idXMtYXNjaWkiPz48bGFiZWxIaXN0b3J5IHhtbG5zOnhzZD0iaHR0cDovL3d3dy53My5vcmcvMjAwMS9YTUxTY2hlbWEiIHhtbG5zOnhzaT0iaHR0cDovL3d3dy53My5vcmcvMjAwMS9YTUxTY2hlbWEtaW5zdGFuY2UiIHhtbG5zPSJodHRwOi8vd3d3LmJvbGRvbmphbWVzLmNvbS8yMDE2LzAyL0NsYXNzaWZpZXIvaW50ZXJuYWwvbGFiZWxIaXN0b3J5Ij48aXRlbT48c2lzbCBzaXNsVmVyc2lvbj0iMCIgcG9saWN5PSJlNTMyOWU4Mi1mOWJkLTQxNjYtOGRiOS1jOTMyZDY3NWRmMWMiIG9yaWdpbj0idXNlclNlbGVjdGVkIj48ZWxlbWVudCB1aWQ9IjQ4ZjQyZWZhLTc4MjktNDFiMS04NWU3LTVlOTM1ZmExZWE5MSIgdmFsdWU9IiIgeG1sbnM9Imh0dHA6Ly93d3cuYm9sZG9uamFtZXMuY29tLzIwMDgvMDEvc2llL2ludGVybmFsL2xhYmVsIiAvPjxlbGVtZW50IHVpZD0iMmEyZmIxMDEtZDVlZi00N2RiLThiMjgtNmU3NWU0ODI0YWE3IiB2YWx1ZT0iIiB4bWxucz0iaHR0cDovL3d3dy5ib2xkb25qYW1lcy5jb20vMjAwOC8wMS9zaWUvaW50ZXJuYWwvbGFiZWwiIC8+PC9zaXNsPjxVc2VyTmFtZT5FWElNQkFOS1xtZTIxMzQ8L1VzZXJOYW1lPjxEYXRlVGltZT41LjA0LjIwMjMgMTM6MTg6MTI8L0RhdGVUaW1lPjxMYWJlbFN0cmluZz5IaXptZXRlICYjeEQ2O3plbC9LViBJJiN4RTc7ZXJtZXo8L0xhYmVsU3RyaW5nPjwvaXRlbT48L2xhYmVsSGlzdG9yeT4=</Value>
</WrappedLabelHistory>
</file>

<file path=customXml/itemProps1.xml><?xml version="1.0" encoding="utf-8"?>
<ds:datastoreItem xmlns:ds="http://schemas.openxmlformats.org/officeDocument/2006/customXml" ds:itemID="{C5153C46-F530-464F-8083-85C39CC0EE5F}">
  <ds:schemaRefs>
    <ds:schemaRef ds:uri="http://www.w3.org/2001/XMLSchema"/>
    <ds:schemaRef ds:uri="http://www.boldonjames.com/2008/01/sie/internal/label"/>
  </ds:schemaRefs>
</ds:datastoreItem>
</file>

<file path=customXml/itemProps2.xml><?xml version="1.0" encoding="utf-8"?>
<ds:datastoreItem xmlns:ds="http://schemas.openxmlformats.org/officeDocument/2006/customXml" ds:itemID="{C5739AC9-8DAA-4586-A4BB-68D28C93B7BA}">
  <ds:schemaRefs>
    <ds:schemaRef ds:uri="http://www.w3.org/2001/XMLSchema"/>
    <ds:schemaRef ds:uri="http://www.boldonjames.com/2016/02/Classifier/internal/wrappedLabelHistor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3</TotalTime>
  <Words>2571</Words>
  <Application>Microsoft Office PowerPoint</Application>
  <PresentationFormat>Widescreen</PresentationFormat>
  <Paragraphs>822</Paragraphs>
  <Slides>40</Slides>
  <Notes>4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4" baseType="lpstr">
      <vt:lpstr>Arial</vt:lpstr>
      <vt:lpstr>Calibri</vt:lpstr>
      <vt:lpstr>Calibri Light</vt:lpstr>
      <vt:lpstr>Century Gothic</vt:lpstr>
      <vt:lpstr>Garamond</vt:lpstr>
      <vt:lpstr>Georgia</vt:lpstr>
      <vt:lpstr>Helvetica</vt:lpstr>
      <vt:lpstr>Open Sans</vt:lpstr>
      <vt:lpstr>Tahoma</vt:lpstr>
      <vt:lpstr>Times New Roman</vt:lpstr>
      <vt:lpstr>Wingdings</vt:lpstr>
      <vt:lpstr>Office Theme</vt:lpstr>
      <vt:lpstr>6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t Can ERBAY</dc:creator>
  <cp:keywords>Hizmete Ozel/KV Icermez</cp:keywords>
  <cp:lastModifiedBy>Ali̇ GÜNEY</cp:lastModifiedBy>
  <cp:revision>7</cp:revision>
  <cp:lastPrinted>2023-04-05T13:36:48Z</cp:lastPrinted>
  <dcterms:created xsi:type="dcterms:W3CDTF">2023-04-05T13:17:53Z</dcterms:created>
  <dcterms:modified xsi:type="dcterms:W3CDTF">2023-04-06T09:5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67d04967-925e-4890-b2ff-feb3c86e0bf6</vt:lpwstr>
  </property>
  <property fmtid="{D5CDD505-2E9C-101B-9397-08002B2CF9AE}" pid="3" name="bjClsUserRVM">
    <vt:lpwstr>[]</vt:lpwstr>
  </property>
  <property fmtid="{D5CDD505-2E9C-101B-9397-08002B2CF9AE}" pid="4" name="bjSaver">
    <vt:lpwstr>89YsUnTSuhcDc5nCVVxILlO1uUegiceB</vt:lpwstr>
  </property>
  <property fmtid="{D5CDD505-2E9C-101B-9397-08002B2CF9AE}" pid="5" name="bjDocumentSecurityLabel">
    <vt:lpwstr>Hizmete Özel/KV Içermez</vt:lpwstr>
  </property>
  <property fmtid="{D5CDD505-2E9C-101B-9397-08002B2CF9AE}" pid="6" name="bjLabelHistoryID">
    <vt:lpwstr>{C5739AC9-8DAA-4586-A4BB-68D28C93B7BA}</vt:lpwstr>
  </property>
  <property fmtid="{D5CDD505-2E9C-101B-9397-08002B2CF9AE}" pid="7" name="bjDocumentLabelXML">
    <vt:lpwstr>&lt;?xml version="1.0" encoding="us-ascii"?&gt;&lt;sisl xmlns:xsi="http://www.w3.org/2001/XMLSchema-instance" xmlns:xsd="http://www.w3.org/2001/XMLSchema" sislVersion="0" policy="e5329e82-f9bd-4166-8db9-c932d675df1c" origin="userSelected" xmlns="http://www.boldonj</vt:lpwstr>
  </property>
  <property fmtid="{D5CDD505-2E9C-101B-9397-08002B2CF9AE}" pid="8" name="bjDocumentLabelXML-0">
    <vt:lpwstr>ames.com/2008/01/sie/internal/label"&gt;&lt;element uid="48f42efa-7829-41b1-85e7-5e935fa1ea91" value="" /&gt;&lt;element uid="2a2fb101-d5ef-47db-8b28-6e75e4824aa7" value="" /&gt;&lt;/sisl&gt;</vt:lpwstr>
  </property>
</Properties>
</file>